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1"/>
  </p:sldMasterIdLst>
  <p:notesMasterIdLst>
    <p:notesMasterId r:id="rId7"/>
  </p:notesMasterIdLst>
  <p:sldIdLst>
    <p:sldId id="758" r:id="rId2"/>
    <p:sldId id="756" r:id="rId3"/>
    <p:sldId id="757" r:id="rId4"/>
    <p:sldId id="330" r:id="rId5"/>
    <p:sldId id="338" r:id="rId6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91" autoAdjust="0"/>
    <p:restoredTop sz="87796" autoAdjust="0"/>
  </p:normalViewPr>
  <p:slideViewPr>
    <p:cSldViewPr snapToGrid="0">
      <p:cViewPr varScale="1">
        <p:scale>
          <a:sx n="93" d="100"/>
          <a:sy n="93" d="100"/>
        </p:scale>
        <p:origin x="132" y="15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smorduc Vinca" userId="ad80fc01-cf55-4376-a825-a887c8046f05" providerId="ADAL" clId="{5E92CF3F-ACF8-4B65-A0D3-F38CF6E9DF55}"/>
    <pc:docChg chg="undo custSel modSld">
      <pc:chgData name="Rosmorduc Vinca" userId="ad80fc01-cf55-4376-a825-a887c8046f05" providerId="ADAL" clId="{5E92CF3F-ACF8-4B65-A0D3-F38CF6E9DF55}" dt="2020-11-24T12:25:04.346" v="7" actId="167"/>
      <pc:docMkLst>
        <pc:docMk/>
      </pc:docMkLst>
      <pc:sldChg chg="addSp delSp modSp mod">
        <pc:chgData name="Rosmorduc Vinca" userId="ad80fc01-cf55-4376-a825-a887c8046f05" providerId="ADAL" clId="{5E92CF3F-ACF8-4B65-A0D3-F38CF6E9DF55}" dt="2020-11-24T12:25:04.346" v="7" actId="167"/>
        <pc:sldMkLst>
          <pc:docMk/>
          <pc:sldMk cId="2692248234" sldId="758"/>
        </pc:sldMkLst>
        <pc:spChg chg="mod topLvl">
          <ac:chgData name="Rosmorduc Vinca" userId="ad80fc01-cf55-4376-a825-a887c8046f05" providerId="ADAL" clId="{5E92CF3F-ACF8-4B65-A0D3-F38CF6E9DF55}" dt="2020-11-24T12:25:01.832" v="6" actId="164"/>
          <ac:spMkLst>
            <pc:docMk/>
            <pc:sldMk cId="2692248234" sldId="758"/>
            <ac:spMk id="9" creationId="{C2801E88-D21C-42B6-9147-F004BD9E8D78}"/>
          </ac:spMkLst>
        </pc:spChg>
        <pc:grpChg chg="mod">
          <ac:chgData name="Rosmorduc Vinca" userId="ad80fc01-cf55-4376-a825-a887c8046f05" providerId="ADAL" clId="{5E92CF3F-ACF8-4B65-A0D3-F38CF6E9DF55}" dt="2020-11-24T12:25:01.832" v="6" actId="164"/>
          <ac:grpSpMkLst>
            <pc:docMk/>
            <pc:sldMk cId="2692248234" sldId="758"/>
            <ac:grpSpMk id="4" creationId="{B1A2E16C-D993-4BC8-831E-F25461E377C5}"/>
          </ac:grpSpMkLst>
        </pc:grpChg>
        <pc:grpChg chg="add del">
          <ac:chgData name="Rosmorduc Vinca" userId="ad80fc01-cf55-4376-a825-a887c8046f05" providerId="ADAL" clId="{5E92CF3F-ACF8-4B65-A0D3-F38CF6E9DF55}" dt="2020-11-24T12:24:43.554" v="2" actId="165"/>
          <ac:grpSpMkLst>
            <pc:docMk/>
            <pc:sldMk cId="2692248234" sldId="758"/>
            <ac:grpSpMk id="7" creationId="{8325A676-FD5B-4738-972C-FE9580CA4071}"/>
          </ac:grpSpMkLst>
        </pc:grpChg>
        <pc:grpChg chg="add mod ord">
          <ac:chgData name="Rosmorduc Vinca" userId="ad80fc01-cf55-4376-a825-a887c8046f05" providerId="ADAL" clId="{5E92CF3F-ACF8-4B65-A0D3-F38CF6E9DF55}" dt="2020-11-24T12:25:04.346" v="7" actId="167"/>
          <ac:grpSpMkLst>
            <pc:docMk/>
            <pc:sldMk cId="2692248234" sldId="758"/>
            <ac:grpSpMk id="12" creationId="{C18218F9-DF60-46C6-92E8-143E02281772}"/>
          </ac:grpSpMkLst>
        </pc:grpChg>
        <pc:picChg chg="del mod topLvl">
          <ac:chgData name="Rosmorduc Vinca" userId="ad80fc01-cf55-4376-a825-a887c8046f05" providerId="ADAL" clId="{5E92CF3F-ACF8-4B65-A0D3-F38CF6E9DF55}" dt="2020-11-24T12:24:45.723" v="3" actId="478"/>
          <ac:picMkLst>
            <pc:docMk/>
            <pc:sldMk cId="2692248234" sldId="758"/>
            <ac:picMk id="8" creationId="{498BCB69-CC48-4D31-A0AD-7DD2FC9F617B}"/>
          </ac:picMkLst>
        </pc:picChg>
        <pc:picChg chg="add mod ord">
          <ac:chgData name="Rosmorduc Vinca" userId="ad80fc01-cf55-4376-a825-a887c8046f05" providerId="ADAL" clId="{5E92CF3F-ACF8-4B65-A0D3-F38CF6E9DF55}" dt="2020-11-24T12:25:01.832" v="6" actId="164"/>
          <ac:picMkLst>
            <pc:docMk/>
            <pc:sldMk cId="2692248234" sldId="758"/>
            <ac:picMk id="11" creationId="{65931DBC-17EB-4A92-8E8F-CE7BAAC20EE3}"/>
          </ac:picMkLst>
        </pc:picChg>
      </pc:sldChg>
    </pc:docChg>
  </pc:docChgLst>
  <pc:docChgLst>
    <pc:chgData name="Rosmorduc Vinca" userId="ad80fc01-cf55-4376-a825-a887c8046f05" providerId="ADAL" clId="{D5DAD361-5ACA-4B1A-A02F-41ED5C8E33A4}"/>
    <pc:docChg chg="custSel delSld modSld">
      <pc:chgData name="Rosmorduc Vinca" userId="ad80fc01-cf55-4376-a825-a887c8046f05" providerId="ADAL" clId="{D5DAD361-5ACA-4B1A-A02F-41ED5C8E33A4}" dt="2019-08-05T08:05:22.272" v="359" actId="1076"/>
      <pc:docMkLst>
        <pc:docMk/>
      </pc:docMkLst>
      <pc:sldChg chg="modSp">
        <pc:chgData name="Rosmorduc Vinca" userId="ad80fc01-cf55-4376-a825-a887c8046f05" providerId="ADAL" clId="{D5DAD361-5ACA-4B1A-A02F-41ED5C8E33A4}" dt="2019-08-05T08:01:43.396" v="272" actId="14100"/>
        <pc:sldMkLst>
          <pc:docMk/>
          <pc:sldMk cId="0" sldId="330"/>
        </pc:sldMkLst>
        <pc:spChg chg="mod">
          <ac:chgData name="Rosmorduc Vinca" userId="ad80fc01-cf55-4376-a825-a887c8046f05" providerId="ADAL" clId="{D5DAD361-5ACA-4B1A-A02F-41ED5C8E33A4}" dt="2019-08-05T08:01:16.447" v="252" actId="20577"/>
          <ac:spMkLst>
            <pc:docMk/>
            <pc:sldMk cId="0" sldId="330"/>
            <ac:spMk id="40978" creationId="{00000000-0000-0000-0000-000000000000}"/>
          </ac:spMkLst>
        </pc:spChg>
        <pc:spChg chg="mod">
          <ac:chgData name="Rosmorduc Vinca" userId="ad80fc01-cf55-4376-a825-a887c8046f05" providerId="ADAL" clId="{D5DAD361-5ACA-4B1A-A02F-41ED5C8E33A4}" dt="2019-08-05T08:01:43.396" v="272" actId="14100"/>
          <ac:spMkLst>
            <pc:docMk/>
            <pc:sldMk cId="0" sldId="330"/>
            <ac:spMk id="40979" creationId="{00000000-0000-0000-0000-000000000000}"/>
          </ac:spMkLst>
        </pc:spChg>
      </pc:sldChg>
      <pc:sldChg chg="modSp">
        <pc:chgData name="Rosmorduc Vinca" userId="ad80fc01-cf55-4376-a825-a887c8046f05" providerId="ADAL" clId="{D5DAD361-5ACA-4B1A-A02F-41ED5C8E33A4}" dt="2019-08-05T08:02:09.904" v="273" actId="20577"/>
        <pc:sldMkLst>
          <pc:docMk/>
          <pc:sldMk cId="3735817327" sldId="338"/>
        </pc:sldMkLst>
        <pc:spChg chg="mod">
          <ac:chgData name="Rosmorduc Vinca" userId="ad80fc01-cf55-4376-a825-a887c8046f05" providerId="ADAL" clId="{D5DAD361-5ACA-4B1A-A02F-41ED5C8E33A4}" dt="2019-08-05T08:02:09.904" v="273" actId="20577"/>
          <ac:spMkLst>
            <pc:docMk/>
            <pc:sldMk cId="3735817327" sldId="338"/>
            <ac:spMk id="252936" creationId="{00000000-0000-0000-0000-000000000000}"/>
          </ac:spMkLst>
        </pc:spChg>
      </pc:sldChg>
      <pc:sldChg chg="modSp del">
        <pc:chgData name="Rosmorduc Vinca" userId="ad80fc01-cf55-4376-a825-a887c8046f05" providerId="ADAL" clId="{D5DAD361-5ACA-4B1A-A02F-41ED5C8E33A4}" dt="2019-08-05T08:00:05.647" v="208" actId="2696"/>
        <pc:sldMkLst>
          <pc:docMk/>
          <pc:sldMk cId="2057224644" sldId="350"/>
        </pc:sldMkLst>
        <pc:spChg chg="mod">
          <ac:chgData name="Rosmorduc Vinca" userId="ad80fc01-cf55-4376-a825-a887c8046f05" providerId="ADAL" clId="{D5DAD361-5ACA-4B1A-A02F-41ED5C8E33A4}" dt="2019-08-05T07:59:46.616" v="207" actId="20577"/>
          <ac:spMkLst>
            <pc:docMk/>
            <pc:sldMk cId="2057224644" sldId="350"/>
            <ac:spMk id="31746" creationId="{00000000-0000-0000-0000-000000000000}"/>
          </ac:spMkLst>
        </pc:spChg>
      </pc:sldChg>
      <pc:sldChg chg="modSp">
        <pc:chgData name="Rosmorduc Vinca" userId="ad80fc01-cf55-4376-a825-a887c8046f05" providerId="ADAL" clId="{D5DAD361-5ACA-4B1A-A02F-41ED5C8E33A4}" dt="2019-08-05T08:05:04.185" v="358" actId="20577"/>
        <pc:sldMkLst>
          <pc:docMk/>
          <pc:sldMk cId="4197196884" sldId="756"/>
        </pc:sldMkLst>
        <pc:spChg chg="mod">
          <ac:chgData name="Rosmorduc Vinca" userId="ad80fc01-cf55-4376-a825-a887c8046f05" providerId="ADAL" clId="{D5DAD361-5ACA-4B1A-A02F-41ED5C8E33A4}" dt="2019-08-05T08:05:04.185" v="358" actId="20577"/>
          <ac:spMkLst>
            <pc:docMk/>
            <pc:sldMk cId="4197196884" sldId="756"/>
            <ac:spMk id="7" creationId="{00000000-0000-0000-0000-000000000000}"/>
          </ac:spMkLst>
        </pc:spChg>
      </pc:sldChg>
      <pc:sldChg chg="modSp">
        <pc:chgData name="Rosmorduc Vinca" userId="ad80fc01-cf55-4376-a825-a887c8046f05" providerId="ADAL" clId="{D5DAD361-5ACA-4B1A-A02F-41ED5C8E33A4}" dt="2019-08-05T08:05:22.272" v="359" actId="1076"/>
        <pc:sldMkLst>
          <pc:docMk/>
          <pc:sldMk cId="208100385" sldId="757"/>
        </pc:sldMkLst>
        <pc:spChg chg="mod">
          <ac:chgData name="Rosmorduc Vinca" userId="ad80fc01-cf55-4376-a825-a887c8046f05" providerId="ADAL" clId="{D5DAD361-5ACA-4B1A-A02F-41ED5C8E33A4}" dt="2019-08-05T08:00:11.688" v="209" actId="14100"/>
          <ac:spMkLst>
            <pc:docMk/>
            <pc:sldMk cId="208100385" sldId="757"/>
            <ac:spMk id="2" creationId="{936570F6-BF97-46B8-AE99-7370D07B238C}"/>
          </ac:spMkLst>
        </pc:spChg>
        <pc:spChg chg="mod">
          <ac:chgData name="Rosmorduc Vinca" userId="ad80fc01-cf55-4376-a825-a887c8046f05" providerId="ADAL" clId="{D5DAD361-5ACA-4B1A-A02F-41ED5C8E33A4}" dt="2019-08-05T08:00:55.605" v="250" actId="20577"/>
          <ac:spMkLst>
            <pc:docMk/>
            <pc:sldMk cId="208100385" sldId="757"/>
            <ac:spMk id="11" creationId="{820C1AD9-0BE4-422B-BE75-66F869D66BC1}"/>
          </ac:spMkLst>
        </pc:spChg>
        <pc:picChg chg="mod">
          <ac:chgData name="Rosmorduc Vinca" userId="ad80fc01-cf55-4376-a825-a887c8046f05" providerId="ADAL" clId="{D5DAD361-5ACA-4B1A-A02F-41ED5C8E33A4}" dt="2019-08-05T08:05:22.272" v="359" actId="1076"/>
          <ac:picMkLst>
            <pc:docMk/>
            <pc:sldMk cId="208100385" sldId="757"/>
            <ac:picMk id="6" creationId="{3F332217-4209-43E9-8EAE-41B0A5BFC930}"/>
          </ac:picMkLst>
        </pc:picChg>
      </pc:sldChg>
    </pc:docChg>
  </pc:docChgLst>
  <pc:docChgLst>
    <pc:chgData name="Rosmorduc Vinca" userId="ad80fc01-cf55-4376-a825-a887c8046f05" providerId="ADAL" clId="{0ECDA98E-2969-4162-8A97-13BDB6C83B4F}"/>
    <pc:docChg chg="undo custSel modSld">
      <pc:chgData name="Rosmorduc Vinca" userId="ad80fc01-cf55-4376-a825-a887c8046f05" providerId="ADAL" clId="{0ECDA98E-2969-4162-8A97-13BDB6C83B4F}" dt="2020-10-15T07:29:18.761" v="103"/>
      <pc:docMkLst>
        <pc:docMk/>
      </pc:docMkLst>
      <pc:sldChg chg="modSp mod">
        <pc:chgData name="Rosmorduc Vinca" userId="ad80fc01-cf55-4376-a825-a887c8046f05" providerId="ADAL" clId="{0ECDA98E-2969-4162-8A97-13BDB6C83B4F}" dt="2020-10-15T07:06:13.272" v="45" actId="1076"/>
        <pc:sldMkLst>
          <pc:docMk/>
          <pc:sldMk cId="0" sldId="330"/>
        </pc:sldMkLst>
        <pc:spChg chg="mod">
          <ac:chgData name="Rosmorduc Vinca" userId="ad80fc01-cf55-4376-a825-a887c8046f05" providerId="ADAL" clId="{0ECDA98E-2969-4162-8A97-13BDB6C83B4F}" dt="2020-05-05T09:16:40.623" v="11" actId="207"/>
          <ac:spMkLst>
            <pc:docMk/>
            <pc:sldMk cId="0" sldId="330"/>
            <ac:spMk id="4" creationId="{00000000-0000-0000-0000-000000000000}"/>
          </ac:spMkLst>
        </pc:spChg>
        <pc:spChg chg="mod">
          <ac:chgData name="Rosmorduc Vinca" userId="ad80fc01-cf55-4376-a825-a887c8046f05" providerId="ADAL" clId="{0ECDA98E-2969-4162-8A97-13BDB6C83B4F}" dt="2020-10-15T07:04:41.473" v="34" actId="790"/>
          <ac:spMkLst>
            <pc:docMk/>
            <pc:sldMk cId="0" sldId="330"/>
            <ac:spMk id="40963" creationId="{00000000-0000-0000-0000-000000000000}"/>
          </ac:spMkLst>
        </pc:spChg>
        <pc:spChg chg="mod">
          <ac:chgData name="Rosmorduc Vinca" userId="ad80fc01-cf55-4376-a825-a887c8046f05" providerId="ADAL" clId="{0ECDA98E-2969-4162-8A97-13BDB6C83B4F}" dt="2020-10-15T07:04:54.571" v="35" actId="790"/>
          <ac:spMkLst>
            <pc:docMk/>
            <pc:sldMk cId="0" sldId="330"/>
            <ac:spMk id="40964" creationId="{00000000-0000-0000-0000-000000000000}"/>
          </ac:spMkLst>
        </pc:spChg>
        <pc:spChg chg="mod">
          <ac:chgData name="Rosmorduc Vinca" userId="ad80fc01-cf55-4376-a825-a887c8046f05" providerId="ADAL" clId="{0ECDA98E-2969-4162-8A97-13BDB6C83B4F}" dt="2020-10-15T07:05:00.635" v="36" actId="790"/>
          <ac:spMkLst>
            <pc:docMk/>
            <pc:sldMk cId="0" sldId="330"/>
            <ac:spMk id="40965" creationId="{00000000-0000-0000-0000-000000000000}"/>
          </ac:spMkLst>
        </pc:spChg>
        <pc:spChg chg="mod">
          <ac:chgData name="Rosmorduc Vinca" userId="ad80fc01-cf55-4376-a825-a887c8046f05" providerId="ADAL" clId="{0ECDA98E-2969-4162-8A97-13BDB6C83B4F}" dt="2020-10-15T07:04:22.200" v="33" actId="790"/>
          <ac:spMkLst>
            <pc:docMk/>
            <pc:sldMk cId="0" sldId="330"/>
            <ac:spMk id="40966" creationId="{00000000-0000-0000-0000-000000000000}"/>
          </ac:spMkLst>
        </pc:spChg>
        <pc:spChg chg="mod">
          <ac:chgData name="Rosmorduc Vinca" userId="ad80fc01-cf55-4376-a825-a887c8046f05" providerId="ADAL" clId="{0ECDA98E-2969-4162-8A97-13BDB6C83B4F}" dt="2020-10-15T07:05:41.189" v="40" actId="790"/>
          <ac:spMkLst>
            <pc:docMk/>
            <pc:sldMk cId="0" sldId="330"/>
            <ac:spMk id="40968" creationId="{00000000-0000-0000-0000-000000000000}"/>
          </ac:spMkLst>
        </pc:spChg>
        <pc:spChg chg="mod">
          <ac:chgData name="Rosmorduc Vinca" userId="ad80fc01-cf55-4376-a825-a887c8046f05" providerId="ADAL" clId="{0ECDA98E-2969-4162-8A97-13BDB6C83B4F}" dt="2020-10-15T07:05:52.426" v="41" actId="790"/>
          <ac:spMkLst>
            <pc:docMk/>
            <pc:sldMk cId="0" sldId="330"/>
            <ac:spMk id="40969" creationId="{00000000-0000-0000-0000-000000000000}"/>
          </ac:spMkLst>
        </pc:spChg>
        <pc:spChg chg="mod">
          <ac:chgData name="Rosmorduc Vinca" userId="ad80fc01-cf55-4376-a825-a887c8046f05" providerId="ADAL" clId="{0ECDA98E-2969-4162-8A97-13BDB6C83B4F}" dt="2020-10-15T07:05:59.851" v="42" actId="790"/>
          <ac:spMkLst>
            <pc:docMk/>
            <pc:sldMk cId="0" sldId="330"/>
            <ac:spMk id="40970" creationId="{00000000-0000-0000-0000-000000000000}"/>
          </ac:spMkLst>
        </pc:spChg>
        <pc:spChg chg="mod">
          <ac:chgData name="Rosmorduc Vinca" userId="ad80fc01-cf55-4376-a825-a887c8046f05" providerId="ADAL" clId="{0ECDA98E-2969-4162-8A97-13BDB6C83B4F}" dt="2020-10-15T07:04:14.115" v="32" actId="790"/>
          <ac:spMkLst>
            <pc:docMk/>
            <pc:sldMk cId="0" sldId="330"/>
            <ac:spMk id="40971" creationId="{00000000-0000-0000-0000-000000000000}"/>
          </ac:spMkLst>
        </pc:spChg>
        <pc:spChg chg="mod">
          <ac:chgData name="Rosmorduc Vinca" userId="ad80fc01-cf55-4376-a825-a887c8046f05" providerId="ADAL" clId="{0ECDA98E-2969-4162-8A97-13BDB6C83B4F}" dt="2020-05-05T09:17:07.560" v="15" actId="207"/>
          <ac:spMkLst>
            <pc:docMk/>
            <pc:sldMk cId="0" sldId="330"/>
            <ac:spMk id="40973" creationId="{00000000-0000-0000-0000-000000000000}"/>
          </ac:spMkLst>
        </pc:spChg>
        <pc:spChg chg="mod">
          <ac:chgData name="Rosmorduc Vinca" userId="ad80fc01-cf55-4376-a825-a887c8046f05" providerId="ADAL" clId="{0ECDA98E-2969-4162-8A97-13BDB6C83B4F}" dt="2020-10-15T07:06:06.976" v="43" actId="790"/>
          <ac:spMkLst>
            <pc:docMk/>
            <pc:sldMk cId="0" sldId="330"/>
            <ac:spMk id="40975" creationId="{00000000-0000-0000-0000-000000000000}"/>
          </ac:spMkLst>
        </pc:spChg>
        <pc:spChg chg="mod">
          <ac:chgData name="Rosmorduc Vinca" userId="ad80fc01-cf55-4376-a825-a887c8046f05" providerId="ADAL" clId="{0ECDA98E-2969-4162-8A97-13BDB6C83B4F}" dt="2020-10-15T07:06:13.272" v="45" actId="1076"/>
          <ac:spMkLst>
            <pc:docMk/>
            <pc:sldMk cId="0" sldId="330"/>
            <ac:spMk id="40976" creationId="{00000000-0000-0000-0000-000000000000}"/>
          </ac:spMkLst>
        </pc:spChg>
        <pc:spChg chg="mod">
          <ac:chgData name="Rosmorduc Vinca" userId="ad80fc01-cf55-4376-a825-a887c8046f05" providerId="ADAL" clId="{0ECDA98E-2969-4162-8A97-13BDB6C83B4F}" dt="2020-05-05T09:17:11.111" v="16" actId="207"/>
          <ac:spMkLst>
            <pc:docMk/>
            <pc:sldMk cId="0" sldId="330"/>
            <ac:spMk id="40981" creationId="{00000000-0000-0000-0000-000000000000}"/>
          </ac:spMkLst>
        </pc:spChg>
        <pc:spChg chg="mod">
          <ac:chgData name="Rosmorduc Vinca" userId="ad80fc01-cf55-4376-a825-a887c8046f05" providerId="ADAL" clId="{0ECDA98E-2969-4162-8A97-13BDB6C83B4F}" dt="2020-10-15T07:05:01.787" v="37" actId="1076"/>
          <ac:spMkLst>
            <pc:docMk/>
            <pc:sldMk cId="0" sldId="330"/>
            <ac:spMk id="40985" creationId="{00000000-0000-0000-0000-000000000000}"/>
          </ac:spMkLst>
        </pc:spChg>
        <pc:spChg chg="mod">
          <ac:chgData name="Rosmorduc Vinca" userId="ad80fc01-cf55-4376-a825-a887c8046f05" providerId="ADAL" clId="{0ECDA98E-2969-4162-8A97-13BDB6C83B4F}" dt="2020-10-15T07:05:12.405" v="38" actId="790"/>
          <ac:spMkLst>
            <pc:docMk/>
            <pc:sldMk cId="0" sldId="330"/>
            <ac:spMk id="130055" creationId="{00000000-0000-0000-0000-000000000000}"/>
          </ac:spMkLst>
        </pc:spChg>
        <pc:spChg chg="mod">
          <ac:chgData name="Rosmorduc Vinca" userId="ad80fc01-cf55-4376-a825-a887c8046f05" providerId="ADAL" clId="{0ECDA98E-2969-4162-8A97-13BDB6C83B4F}" dt="2020-10-15T07:05:22.269" v="39" actId="790"/>
          <ac:spMkLst>
            <pc:docMk/>
            <pc:sldMk cId="0" sldId="330"/>
            <ac:spMk id="130060" creationId="{00000000-0000-0000-0000-000000000000}"/>
          </ac:spMkLst>
        </pc:spChg>
      </pc:sldChg>
      <pc:sldChg chg="modSp mod">
        <pc:chgData name="Rosmorduc Vinca" userId="ad80fc01-cf55-4376-a825-a887c8046f05" providerId="ADAL" clId="{0ECDA98E-2969-4162-8A97-13BDB6C83B4F}" dt="2020-10-15T07:08:58.472" v="94" actId="790"/>
        <pc:sldMkLst>
          <pc:docMk/>
          <pc:sldMk cId="3735817327" sldId="338"/>
        </pc:sldMkLst>
        <pc:spChg chg="mod">
          <ac:chgData name="Rosmorduc Vinca" userId="ad80fc01-cf55-4376-a825-a887c8046f05" providerId="ADAL" clId="{0ECDA98E-2969-4162-8A97-13BDB6C83B4F}" dt="2020-10-15T07:06:34.063" v="46" actId="790"/>
          <ac:spMkLst>
            <pc:docMk/>
            <pc:sldMk cId="3735817327" sldId="338"/>
            <ac:spMk id="2" creationId="{00000000-0000-0000-0000-000000000000}"/>
          </ac:spMkLst>
        </pc:spChg>
        <pc:spChg chg="mod">
          <ac:chgData name="Rosmorduc Vinca" userId="ad80fc01-cf55-4376-a825-a887c8046f05" providerId="ADAL" clId="{0ECDA98E-2969-4162-8A97-13BDB6C83B4F}" dt="2020-10-15T07:07:35.356" v="58" actId="14100"/>
          <ac:spMkLst>
            <pc:docMk/>
            <pc:sldMk cId="3735817327" sldId="338"/>
            <ac:spMk id="252930" creationId="{00000000-0000-0000-0000-000000000000}"/>
          </ac:spMkLst>
        </pc:spChg>
        <pc:spChg chg="mod">
          <ac:chgData name="Rosmorduc Vinca" userId="ad80fc01-cf55-4376-a825-a887c8046f05" providerId="ADAL" clId="{0ECDA98E-2969-4162-8A97-13BDB6C83B4F}" dt="2020-10-15T07:08:34.855" v="91" actId="20577"/>
          <ac:spMkLst>
            <pc:docMk/>
            <pc:sldMk cId="3735817327" sldId="338"/>
            <ac:spMk id="252931" creationId="{00000000-0000-0000-0000-000000000000}"/>
          </ac:spMkLst>
        </pc:spChg>
        <pc:spChg chg="mod">
          <ac:chgData name="Rosmorduc Vinca" userId="ad80fc01-cf55-4376-a825-a887c8046f05" providerId="ADAL" clId="{0ECDA98E-2969-4162-8A97-13BDB6C83B4F}" dt="2020-10-15T07:08:40.539" v="92" actId="207"/>
          <ac:spMkLst>
            <pc:docMk/>
            <pc:sldMk cId="3735817327" sldId="338"/>
            <ac:spMk id="252932" creationId="{00000000-0000-0000-0000-000000000000}"/>
          </ac:spMkLst>
        </pc:spChg>
        <pc:spChg chg="mod">
          <ac:chgData name="Rosmorduc Vinca" userId="ad80fc01-cf55-4376-a825-a887c8046f05" providerId="ADAL" clId="{0ECDA98E-2969-4162-8A97-13BDB6C83B4F}" dt="2020-10-15T07:08:52.332" v="93" actId="790"/>
          <ac:spMkLst>
            <pc:docMk/>
            <pc:sldMk cId="3735817327" sldId="338"/>
            <ac:spMk id="252938" creationId="{00000000-0000-0000-0000-000000000000}"/>
          </ac:spMkLst>
        </pc:spChg>
        <pc:spChg chg="mod">
          <ac:chgData name="Rosmorduc Vinca" userId="ad80fc01-cf55-4376-a825-a887c8046f05" providerId="ADAL" clId="{0ECDA98E-2969-4162-8A97-13BDB6C83B4F}" dt="2020-10-15T07:07:45.676" v="65" actId="1076"/>
          <ac:spMkLst>
            <pc:docMk/>
            <pc:sldMk cId="3735817327" sldId="338"/>
            <ac:spMk id="252939" creationId="{00000000-0000-0000-0000-000000000000}"/>
          </ac:spMkLst>
        </pc:spChg>
        <pc:spChg chg="mod">
          <ac:chgData name="Rosmorduc Vinca" userId="ad80fc01-cf55-4376-a825-a887c8046f05" providerId="ADAL" clId="{0ECDA98E-2969-4162-8A97-13BDB6C83B4F}" dt="2020-10-15T07:08:58.472" v="94" actId="790"/>
          <ac:spMkLst>
            <pc:docMk/>
            <pc:sldMk cId="3735817327" sldId="338"/>
            <ac:spMk id="252941" creationId="{00000000-0000-0000-0000-000000000000}"/>
          </ac:spMkLst>
        </pc:spChg>
      </pc:sldChg>
      <pc:sldChg chg="addSp delSp modSp mod">
        <pc:chgData name="Rosmorduc Vinca" userId="ad80fc01-cf55-4376-a825-a887c8046f05" providerId="ADAL" clId="{0ECDA98E-2969-4162-8A97-13BDB6C83B4F}" dt="2020-10-15T07:12:16.653" v="101" actId="14100"/>
        <pc:sldMkLst>
          <pc:docMk/>
          <pc:sldMk cId="4197196884" sldId="756"/>
        </pc:sldMkLst>
        <pc:spChg chg="mod">
          <ac:chgData name="Rosmorduc Vinca" userId="ad80fc01-cf55-4376-a825-a887c8046f05" providerId="ADAL" clId="{0ECDA98E-2969-4162-8A97-13BDB6C83B4F}" dt="2020-10-15T07:03:58.336" v="31" actId="790"/>
          <ac:spMkLst>
            <pc:docMk/>
            <pc:sldMk cId="4197196884" sldId="756"/>
            <ac:spMk id="7" creationId="{00000000-0000-0000-0000-000000000000}"/>
          </ac:spMkLst>
        </pc:spChg>
        <pc:picChg chg="add del mod">
          <ac:chgData name="Rosmorduc Vinca" userId="ad80fc01-cf55-4376-a825-a887c8046f05" providerId="ADAL" clId="{0ECDA98E-2969-4162-8A97-13BDB6C83B4F}" dt="2020-10-15T07:10:51.744" v="95" actId="478"/>
          <ac:picMkLst>
            <pc:docMk/>
            <pc:sldMk cId="4197196884" sldId="756"/>
            <ac:picMk id="3" creationId="{9DAC756F-28C4-45F6-8053-B7E493CF1FCB}"/>
          </ac:picMkLst>
        </pc:picChg>
        <pc:picChg chg="del mod">
          <ac:chgData name="Rosmorduc Vinca" userId="ad80fc01-cf55-4376-a825-a887c8046f05" providerId="ADAL" clId="{0ECDA98E-2969-4162-8A97-13BDB6C83B4F}" dt="2020-10-15T07:02:22.300" v="22" actId="478"/>
          <ac:picMkLst>
            <pc:docMk/>
            <pc:sldMk cId="4197196884" sldId="756"/>
            <ac:picMk id="4" creationId="{0206BC9E-E4BA-4145-B235-5CF668A01138}"/>
          </ac:picMkLst>
        </pc:picChg>
        <pc:picChg chg="add del mod">
          <ac:chgData name="Rosmorduc Vinca" userId="ad80fc01-cf55-4376-a825-a887c8046f05" providerId="ADAL" clId="{0ECDA98E-2969-4162-8A97-13BDB6C83B4F}" dt="2020-10-15T07:10:59.095" v="98" actId="478"/>
          <ac:picMkLst>
            <pc:docMk/>
            <pc:sldMk cId="4197196884" sldId="756"/>
            <ac:picMk id="6" creationId="{407A874A-AA51-4E53-AD8F-F01B88FED2B7}"/>
          </ac:picMkLst>
        </pc:picChg>
        <pc:picChg chg="add mod">
          <ac:chgData name="Rosmorduc Vinca" userId="ad80fc01-cf55-4376-a825-a887c8046f05" providerId="ADAL" clId="{0ECDA98E-2969-4162-8A97-13BDB6C83B4F}" dt="2020-10-15T07:12:16.653" v="101" actId="14100"/>
          <ac:picMkLst>
            <pc:docMk/>
            <pc:sldMk cId="4197196884" sldId="756"/>
            <ac:picMk id="10" creationId="{BA2B2780-7EFE-4532-AA13-8F853C4A72E0}"/>
          </ac:picMkLst>
        </pc:picChg>
      </pc:sldChg>
      <pc:sldChg chg="addSp delSp modSp mod">
        <pc:chgData name="Rosmorduc Vinca" userId="ad80fc01-cf55-4376-a825-a887c8046f05" providerId="ADAL" clId="{0ECDA98E-2969-4162-8A97-13BDB6C83B4F}" dt="2020-10-15T07:29:18.761" v="103"/>
        <pc:sldMkLst>
          <pc:docMk/>
          <pc:sldMk cId="208100385" sldId="757"/>
        </pc:sldMkLst>
        <pc:spChg chg="mod">
          <ac:chgData name="Rosmorduc Vinca" userId="ad80fc01-cf55-4376-a825-a887c8046f05" providerId="ADAL" clId="{0ECDA98E-2969-4162-8A97-13BDB6C83B4F}" dt="2020-10-15T07:03:47.657" v="30" actId="790"/>
          <ac:spMkLst>
            <pc:docMk/>
            <pc:sldMk cId="208100385" sldId="757"/>
            <ac:spMk id="2" creationId="{936570F6-BF97-46B8-AE99-7370D07B238C}"/>
          </ac:spMkLst>
        </pc:spChg>
        <pc:spChg chg="mod">
          <ac:chgData name="Rosmorduc Vinca" userId="ad80fc01-cf55-4376-a825-a887c8046f05" providerId="ADAL" clId="{0ECDA98E-2969-4162-8A97-13BDB6C83B4F}" dt="2020-10-15T07:03:47.657" v="30" actId="790"/>
          <ac:spMkLst>
            <pc:docMk/>
            <pc:sldMk cId="208100385" sldId="757"/>
            <ac:spMk id="3" creationId="{25D476FF-1EB0-4A6F-A7ED-B5D866D2C734}"/>
          </ac:spMkLst>
        </pc:spChg>
        <pc:spChg chg="mod">
          <ac:chgData name="Rosmorduc Vinca" userId="ad80fc01-cf55-4376-a825-a887c8046f05" providerId="ADAL" clId="{0ECDA98E-2969-4162-8A97-13BDB6C83B4F}" dt="2020-10-15T07:03:47.657" v="30" actId="790"/>
          <ac:spMkLst>
            <pc:docMk/>
            <pc:sldMk cId="208100385" sldId="757"/>
            <ac:spMk id="7" creationId="{85BC21AB-30EC-4BCE-8C90-5982497F19EE}"/>
          </ac:spMkLst>
        </pc:spChg>
        <pc:spChg chg="mod">
          <ac:chgData name="Rosmorduc Vinca" userId="ad80fc01-cf55-4376-a825-a887c8046f05" providerId="ADAL" clId="{0ECDA98E-2969-4162-8A97-13BDB6C83B4F}" dt="2020-10-15T07:03:47.657" v="30" actId="790"/>
          <ac:spMkLst>
            <pc:docMk/>
            <pc:sldMk cId="208100385" sldId="757"/>
            <ac:spMk id="11" creationId="{820C1AD9-0BE4-422B-BE75-66F869D66BC1}"/>
          </ac:spMkLst>
        </pc:spChg>
        <pc:picChg chg="del">
          <ac:chgData name="Rosmorduc Vinca" userId="ad80fc01-cf55-4376-a825-a887c8046f05" providerId="ADAL" clId="{0ECDA98E-2969-4162-8A97-13BDB6C83B4F}" dt="2020-10-15T07:29:17.558" v="102" actId="478"/>
          <ac:picMkLst>
            <pc:docMk/>
            <pc:sldMk cId="208100385" sldId="757"/>
            <ac:picMk id="9" creationId="{F78EFDA0-80DB-459B-B5F0-82D1D7A8B1E4}"/>
          </ac:picMkLst>
        </pc:picChg>
        <pc:picChg chg="del">
          <ac:chgData name="Rosmorduc Vinca" userId="ad80fc01-cf55-4376-a825-a887c8046f05" providerId="ADAL" clId="{0ECDA98E-2969-4162-8A97-13BDB6C83B4F}" dt="2020-10-15T07:29:17.558" v="102" actId="478"/>
          <ac:picMkLst>
            <pc:docMk/>
            <pc:sldMk cId="208100385" sldId="757"/>
            <ac:picMk id="10" creationId="{1CC81A18-151A-4BFC-902D-292856D24776}"/>
          </ac:picMkLst>
        </pc:picChg>
        <pc:picChg chg="add">
          <ac:chgData name="Rosmorduc Vinca" userId="ad80fc01-cf55-4376-a825-a887c8046f05" providerId="ADAL" clId="{0ECDA98E-2969-4162-8A97-13BDB6C83B4F}" dt="2020-10-15T07:29:18.761" v="103"/>
          <ac:picMkLst>
            <pc:docMk/>
            <pc:sldMk cId="208100385" sldId="757"/>
            <ac:picMk id="12" creationId="{CF2E277B-1863-40E9-B0D6-8A037F53D926}"/>
          </ac:picMkLst>
        </pc:picChg>
        <pc:picChg chg="add">
          <ac:chgData name="Rosmorduc Vinca" userId="ad80fc01-cf55-4376-a825-a887c8046f05" providerId="ADAL" clId="{0ECDA98E-2969-4162-8A97-13BDB6C83B4F}" dt="2020-10-15T07:29:18.761" v="103"/>
          <ac:picMkLst>
            <pc:docMk/>
            <pc:sldMk cId="208100385" sldId="757"/>
            <ac:picMk id="13" creationId="{8337BF14-9E85-42EA-BF59-D6FF65A40899}"/>
          </ac:picMkLst>
        </pc:picChg>
      </pc:sldChg>
    </pc:docChg>
  </pc:docChgLst>
  <pc:docChgLst>
    <pc:chgData name="Rosmorduc Vinca" userId="ad80fc01-cf55-4376-a825-a887c8046f05" providerId="ADAL" clId="{55E64201-124C-4C59-9ACD-54A8E3568ED6}"/>
    <pc:docChg chg="modSld">
      <pc:chgData name="Rosmorduc Vinca" userId="ad80fc01-cf55-4376-a825-a887c8046f05" providerId="ADAL" clId="{55E64201-124C-4C59-9ACD-54A8E3568ED6}" dt="2019-08-05T12:59:25.074" v="3" actId="14100"/>
      <pc:docMkLst>
        <pc:docMk/>
      </pc:docMkLst>
      <pc:sldChg chg="modSp">
        <pc:chgData name="Rosmorduc Vinca" userId="ad80fc01-cf55-4376-a825-a887c8046f05" providerId="ADAL" clId="{55E64201-124C-4C59-9ACD-54A8E3568ED6}" dt="2019-08-05T12:59:25.074" v="3" actId="14100"/>
        <pc:sldMkLst>
          <pc:docMk/>
          <pc:sldMk cId="3735817327" sldId="338"/>
        </pc:sldMkLst>
        <pc:spChg chg="mod">
          <ac:chgData name="Rosmorduc Vinca" userId="ad80fc01-cf55-4376-a825-a887c8046f05" providerId="ADAL" clId="{55E64201-124C-4C59-9ACD-54A8E3568ED6}" dt="2019-08-05T12:59:16.299" v="1" actId="14100"/>
          <ac:spMkLst>
            <pc:docMk/>
            <pc:sldMk cId="3735817327" sldId="338"/>
            <ac:spMk id="252932" creationId="{00000000-0000-0000-0000-000000000000}"/>
          </ac:spMkLst>
        </pc:spChg>
        <pc:spChg chg="mod">
          <ac:chgData name="Rosmorduc Vinca" userId="ad80fc01-cf55-4376-a825-a887c8046f05" providerId="ADAL" clId="{55E64201-124C-4C59-9ACD-54A8E3568ED6}" dt="2019-08-05T12:59:25.074" v="3" actId="14100"/>
          <ac:spMkLst>
            <pc:docMk/>
            <pc:sldMk cId="3735817327" sldId="338"/>
            <ac:spMk id="252940" creationId="{00000000-0000-0000-0000-000000000000}"/>
          </ac:spMkLst>
        </pc:spChg>
      </pc:sldChg>
    </pc:docChg>
  </pc:docChgLst>
  <pc:docChgLst>
    <pc:chgData name="Rosmorduc Vinca" userId="ad80fc01-cf55-4376-a825-a887c8046f05" providerId="ADAL" clId="{D7362DAE-DA70-46DE-975C-1274295CACA2}"/>
    <pc:docChg chg="modSld">
      <pc:chgData name="Rosmorduc Vinca" userId="ad80fc01-cf55-4376-a825-a887c8046f05" providerId="ADAL" clId="{D7362DAE-DA70-46DE-975C-1274295CACA2}" dt="2020-11-16T11:15:23.769" v="0" actId="790"/>
      <pc:docMkLst>
        <pc:docMk/>
      </pc:docMkLst>
      <pc:sldChg chg="modSp mod">
        <pc:chgData name="Rosmorduc Vinca" userId="ad80fc01-cf55-4376-a825-a887c8046f05" providerId="ADAL" clId="{D7362DAE-DA70-46DE-975C-1274295CACA2}" dt="2020-11-16T11:15:23.769" v="0" actId="790"/>
        <pc:sldMkLst>
          <pc:docMk/>
          <pc:sldMk cId="2692248234" sldId="758"/>
        </pc:sldMkLst>
        <pc:spChg chg="mod">
          <ac:chgData name="Rosmorduc Vinca" userId="ad80fc01-cf55-4376-a825-a887c8046f05" providerId="ADAL" clId="{D7362DAE-DA70-46DE-975C-1274295CACA2}" dt="2020-11-16T11:15:23.769" v="0" actId="790"/>
          <ac:spMkLst>
            <pc:docMk/>
            <pc:sldMk cId="2692248234" sldId="758"/>
            <ac:spMk id="2" creationId="{2B5488DB-35EF-466A-A481-A86BB77BA9FF}"/>
          </ac:spMkLst>
        </pc:spChg>
      </pc:sldChg>
    </pc:docChg>
  </pc:docChgLst>
  <pc:docChgLst>
    <pc:chgData name="Rosmorduc Vinca" userId="ad80fc01-cf55-4376-a825-a887c8046f05" providerId="ADAL" clId="{06EB26D6-35D3-494A-88DA-CC105310E248}"/>
    <pc:docChg chg="modSld">
      <pc:chgData name="Rosmorduc Vinca" userId="ad80fc01-cf55-4376-a825-a887c8046f05" providerId="ADAL" clId="{06EB26D6-35D3-494A-88DA-CC105310E248}" dt="2020-11-17T10:06:13.400" v="1" actId="14100"/>
      <pc:docMkLst>
        <pc:docMk/>
      </pc:docMkLst>
      <pc:sldChg chg="modSp mod">
        <pc:chgData name="Rosmorduc Vinca" userId="ad80fc01-cf55-4376-a825-a887c8046f05" providerId="ADAL" clId="{06EB26D6-35D3-494A-88DA-CC105310E248}" dt="2020-11-17T10:06:13.400" v="1" actId="14100"/>
        <pc:sldMkLst>
          <pc:docMk/>
          <pc:sldMk cId="2692248234" sldId="758"/>
        </pc:sldMkLst>
        <pc:picChg chg="mod">
          <ac:chgData name="Rosmorduc Vinca" userId="ad80fc01-cf55-4376-a825-a887c8046f05" providerId="ADAL" clId="{06EB26D6-35D3-494A-88DA-CC105310E248}" dt="2020-11-17T10:06:13.400" v="1" actId="14100"/>
          <ac:picMkLst>
            <pc:docMk/>
            <pc:sldMk cId="2692248234" sldId="758"/>
            <ac:picMk id="8" creationId="{498BCB69-CC48-4D31-A0AD-7DD2FC9F617B}"/>
          </ac:picMkLst>
        </pc:picChg>
      </pc:sldChg>
    </pc:docChg>
  </pc:docChgLst>
  <pc:docChgLst>
    <pc:chgData name="Rosmorduc Vinca" userId="ad80fc01-cf55-4376-a825-a887c8046f05" providerId="ADAL" clId="{5A4DDE00-7B88-4EAA-936B-BB4A31EC43D5}"/>
    <pc:docChg chg="modSld">
      <pc:chgData name="Rosmorduc Vinca" userId="ad80fc01-cf55-4376-a825-a887c8046f05" providerId="ADAL" clId="{5A4DDE00-7B88-4EAA-936B-BB4A31EC43D5}" dt="2020-11-17T10:11:24.487" v="14" actId="20577"/>
      <pc:docMkLst>
        <pc:docMk/>
      </pc:docMkLst>
      <pc:sldChg chg="addSp delSp modSp mod">
        <pc:chgData name="Rosmorduc Vinca" userId="ad80fc01-cf55-4376-a825-a887c8046f05" providerId="ADAL" clId="{5A4DDE00-7B88-4EAA-936B-BB4A31EC43D5}" dt="2020-11-17T10:11:19.254" v="12" actId="20577"/>
        <pc:sldMkLst>
          <pc:docMk/>
          <pc:sldMk cId="0" sldId="330"/>
        </pc:sldMkLst>
        <pc:spChg chg="add del mod">
          <ac:chgData name="Rosmorduc Vinca" userId="ad80fc01-cf55-4376-a825-a887c8046f05" providerId="ADAL" clId="{5A4DDE00-7B88-4EAA-936B-BB4A31EC43D5}" dt="2020-11-17T10:11:17.822" v="11"/>
          <ac:spMkLst>
            <pc:docMk/>
            <pc:sldMk cId="0" sldId="330"/>
            <ac:spMk id="2" creationId="{08FB26DF-F010-4A29-A959-191D4F84811F}"/>
          </ac:spMkLst>
        </pc:spChg>
        <pc:spChg chg="mod">
          <ac:chgData name="Rosmorduc Vinca" userId="ad80fc01-cf55-4376-a825-a887c8046f05" providerId="ADAL" clId="{5A4DDE00-7B88-4EAA-936B-BB4A31EC43D5}" dt="2020-11-17T10:11:19.254" v="12" actId="20577"/>
          <ac:spMkLst>
            <pc:docMk/>
            <pc:sldMk cId="0" sldId="330"/>
            <ac:spMk id="40991" creationId="{00000000-0000-0000-0000-000000000000}"/>
          </ac:spMkLst>
        </pc:spChg>
      </pc:sldChg>
      <pc:sldChg chg="addSp delSp modSp mod">
        <pc:chgData name="Rosmorduc Vinca" userId="ad80fc01-cf55-4376-a825-a887c8046f05" providerId="ADAL" clId="{5A4DDE00-7B88-4EAA-936B-BB4A31EC43D5}" dt="2020-11-17T10:11:24.487" v="14" actId="20577"/>
        <pc:sldMkLst>
          <pc:docMk/>
          <pc:sldMk cId="3735817327" sldId="338"/>
        </pc:sldMkLst>
        <pc:spChg chg="add del mod">
          <ac:chgData name="Rosmorduc Vinca" userId="ad80fc01-cf55-4376-a825-a887c8046f05" providerId="ADAL" clId="{5A4DDE00-7B88-4EAA-936B-BB4A31EC43D5}" dt="2020-11-17T10:11:23.123" v="13"/>
          <ac:spMkLst>
            <pc:docMk/>
            <pc:sldMk cId="3735817327" sldId="338"/>
            <ac:spMk id="3" creationId="{9EEA72BD-5A11-487C-B03A-344F625E0F15}"/>
          </ac:spMkLst>
        </pc:spChg>
        <pc:spChg chg="mod">
          <ac:chgData name="Rosmorduc Vinca" userId="ad80fc01-cf55-4376-a825-a887c8046f05" providerId="ADAL" clId="{5A4DDE00-7B88-4EAA-936B-BB4A31EC43D5}" dt="2020-11-17T10:11:24.487" v="14" actId="20577"/>
          <ac:spMkLst>
            <pc:docMk/>
            <pc:sldMk cId="3735817327" sldId="338"/>
            <ac:spMk id="252945" creationId="{00000000-0000-0000-0000-000000000000}"/>
          </ac:spMkLst>
        </pc:spChg>
      </pc:sldChg>
      <pc:sldChg chg="modSp mod">
        <pc:chgData name="Rosmorduc Vinca" userId="ad80fc01-cf55-4376-a825-a887c8046f05" providerId="ADAL" clId="{5A4DDE00-7B88-4EAA-936B-BB4A31EC43D5}" dt="2020-11-17T10:11:01.557" v="8" actId="14100"/>
        <pc:sldMkLst>
          <pc:docMk/>
          <pc:sldMk cId="4197196884" sldId="756"/>
        </pc:sldMkLst>
        <pc:spChg chg="mod">
          <ac:chgData name="Rosmorduc Vinca" userId="ad80fc01-cf55-4376-a825-a887c8046f05" providerId="ADAL" clId="{5A4DDE00-7B88-4EAA-936B-BB4A31EC43D5}" dt="2020-11-17T10:11:01.557" v="8" actId="14100"/>
          <ac:spMkLst>
            <pc:docMk/>
            <pc:sldMk cId="4197196884" sldId="756"/>
            <ac:spMk id="8" creationId="{00000000-0000-0000-0000-000000000000}"/>
          </ac:spMkLst>
        </pc:spChg>
      </pc:sldChg>
      <pc:sldChg chg="modSp mod">
        <pc:chgData name="Rosmorduc Vinca" userId="ad80fc01-cf55-4376-a825-a887c8046f05" providerId="ADAL" clId="{5A4DDE00-7B88-4EAA-936B-BB4A31EC43D5}" dt="2020-11-17T10:11:09.292" v="10" actId="14100"/>
        <pc:sldMkLst>
          <pc:docMk/>
          <pc:sldMk cId="208100385" sldId="757"/>
        </pc:sldMkLst>
        <pc:spChg chg="mod">
          <ac:chgData name="Rosmorduc Vinca" userId="ad80fc01-cf55-4376-a825-a887c8046f05" providerId="ADAL" clId="{5A4DDE00-7B88-4EAA-936B-BB4A31EC43D5}" dt="2020-11-17T10:11:09.292" v="10" actId="14100"/>
          <ac:spMkLst>
            <pc:docMk/>
            <pc:sldMk cId="208100385" sldId="757"/>
            <ac:spMk id="2" creationId="{936570F6-BF97-46B8-AE99-7370D07B238C}"/>
          </ac:spMkLst>
        </pc:spChg>
      </pc:sldChg>
      <pc:sldChg chg="addSp modSp mod">
        <pc:chgData name="Rosmorduc Vinca" userId="ad80fc01-cf55-4376-a825-a887c8046f05" providerId="ADAL" clId="{5A4DDE00-7B88-4EAA-936B-BB4A31EC43D5}" dt="2020-11-17T10:10:50.569" v="5" actId="167"/>
        <pc:sldMkLst>
          <pc:docMk/>
          <pc:sldMk cId="2692248234" sldId="758"/>
        </pc:sldMkLst>
        <pc:spChg chg="add mod">
          <ac:chgData name="Rosmorduc Vinca" userId="ad80fc01-cf55-4376-a825-a887c8046f05" providerId="ADAL" clId="{5A4DDE00-7B88-4EAA-936B-BB4A31EC43D5}" dt="2020-11-17T10:10:42.841" v="3" actId="164"/>
          <ac:spMkLst>
            <pc:docMk/>
            <pc:sldMk cId="2692248234" sldId="758"/>
            <ac:spMk id="9" creationId="{C2801E88-D21C-42B6-9147-F004BD9E8D78}"/>
          </ac:spMkLst>
        </pc:spChg>
        <pc:grpChg chg="add mod ord">
          <ac:chgData name="Rosmorduc Vinca" userId="ad80fc01-cf55-4376-a825-a887c8046f05" providerId="ADAL" clId="{5A4DDE00-7B88-4EAA-936B-BB4A31EC43D5}" dt="2020-11-17T10:10:50.569" v="5" actId="167"/>
          <ac:grpSpMkLst>
            <pc:docMk/>
            <pc:sldMk cId="2692248234" sldId="758"/>
            <ac:grpSpMk id="7" creationId="{8325A676-FD5B-4738-972C-FE9580CA4071}"/>
          </ac:grpSpMkLst>
        </pc:grpChg>
        <pc:picChg chg="mod ord">
          <ac:chgData name="Rosmorduc Vinca" userId="ad80fc01-cf55-4376-a825-a887c8046f05" providerId="ADAL" clId="{5A4DDE00-7B88-4EAA-936B-BB4A31EC43D5}" dt="2020-11-17T10:10:46.286" v="4" actId="167"/>
          <ac:picMkLst>
            <pc:docMk/>
            <pc:sldMk cId="2692248234" sldId="758"/>
            <ac:picMk id="8" creationId="{498BCB69-CC48-4D31-A0AD-7DD2FC9F617B}"/>
          </ac:picMkLst>
        </pc:picChg>
      </pc:sldChg>
    </pc:docChg>
  </pc:docChgLst>
  <pc:docChgLst>
    <pc:chgData name="Rosmorduc Vinca" userId="ad80fc01-cf55-4376-a825-a887c8046f05" providerId="ADAL" clId="{67A51777-55C1-4DF4-9145-CBCE98BF3F47}"/>
    <pc:docChg chg="undo custSel mod addSld delSld modSld sldOrd">
      <pc:chgData name="Rosmorduc Vinca" userId="ad80fc01-cf55-4376-a825-a887c8046f05" providerId="ADAL" clId="{67A51777-55C1-4DF4-9145-CBCE98BF3F47}" dt="2019-06-25T08:27:10.678" v="714" actId="478"/>
      <pc:docMkLst>
        <pc:docMk/>
      </pc:docMkLst>
      <pc:sldChg chg="delSp add">
        <pc:chgData name="Rosmorduc Vinca" userId="ad80fc01-cf55-4376-a825-a887c8046f05" providerId="ADAL" clId="{67A51777-55C1-4DF4-9145-CBCE98BF3F47}" dt="2019-06-25T08:26:12.954" v="702" actId="478"/>
        <pc:sldMkLst>
          <pc:docMk/>
          <pc:sldMk cId="0" sldId="330"/>
        </pc:sldMkLst>
        <pc:spChg chg="del">
          <ac:chgData name="Rosmorduc Vinca" userId="ad80fc01-cf55-4376-a825-a887c8046f05" providerId="ADAL" clId="{67A51777-55C1-4DF4-9145-CBCE98BF3F47}" dt="2019-06-25T08:26:12.051" v="701" actId="478"/>
          <ac:spMkLst>
            <pc:docMk/>
            <pc:sldMk cId="0" sldId="330"/>
            <ac:spMk id="2" creationId="{00000000-0000-0000-0000-000000000000}"/>
          </ac:spMkLst>
        </pc:spChg>
        <pc:spChg chg="del">
          <ac:chgData name="Rosmorduc Vinca" userId="ad80fc01-cf55-4376-a825-a887c8046f05" providerId="ADAL" clId="{67A51777-55C1-4DF4-9145-CBCE98BF3F47}" dt="2019-06-25T08:26:12.954" v="702" actId="478"/>
          <ac:spMkLst>
            <pc:docMk/>
            <pc:sldMk cId="0" sldId="330"/>
            <ac:spMk id="40993" creationId="{00000000-0000-0000-0000-000000000000}"/>
          </ac:spMkLst>
        </pc:spChg>
        <pc:spChg chg="del">
          <ac:chgData name="Rosmorduc Vinca" userId="ad80fc01-cf55-4376-a825-a887c8046f05" providerId="ADAL" clId="{67A51777-55C1-4DF4-9145-CBCE98BF3F47}" dt="2019-06-25T08:26:11.244" v="700" actId="478"/>
          <ac:spMkLst>
            <pc:docMk/>
            <pc:sldMk cId="0" sldId="330"/>
            <ac:spMk id="40994" creationId="{00000000-0000-0000-0000-000000000000}"/>
          </ac:spMkLst>
        </pc:spChg>
      </pc:sldChg>
      <pc:sldChg chg="delSp add">
        <pc:chgData name="Rosmorduc Vinca" userId="ad80fc01-cf55-4376-a825-a887c8046f05" providerId="ADAL" clId="{67A51777-55C1-4DF4-9145-CBCE98BF3F47}" dt="2019-06-25T08:27:10.678" v="714" actId="478"/>
        <pc:sldMkLst>
          <pc:docMk/>
          <pc:sldMk cId="3735817327" sldId="338"/>
        </pc:sldMkLst>
        <pc:spChg chg="del">
          <ac:chgData name="Rosmorduc Vinca" userId="ad80fc01-cf55-4376-a825-a887c8046f05" providerId="ADAL" clId="{67A51777-55C1-4DF4-9145-CBCE98BF3F47}" dt="2019-06-25T08:27:10.678" v="714" actId="478"/>
          <ac:spMkLst>
            <pc:docMk/>
            <pc:sldMk cId="3735817327" sldId="338"/>
            <ac:spMk id="3" creationId="{00000000-0000-0000-0000-000000000000}"/>
          </ac:spMkLst>
        </pc:spChg>
        <pc:spChg chg="del">
          <ac:chgData name="Rosmorduc Vinca" userId="ad80fc01-cf55-4376-a825-a887c8046f05" providerId="ADAL" clId="{67A51777-55C1-4DF4-9145-CBCE98BF3F47}" dt="2019-06-25T08:27:06.556" v="712" actId="478"/>
          <ac:spMkLst>
            <pc:docMk/>
            <pc:sldMk cId="3735817327" sldId="338"/>
            <ac:spMk id="4" creationId="{00000000-0000-0000-0000-000000000000}"/>
          </ac:spMkLst>
        </pc:spChg>
        <pc:spChg chg="del">
          <ac:chgData name="Rosmorduc Vinca" userId="ad80fc01-cf55-4376-a825-a887c8046f05" providerId="ADAL" clId="{67A51777-55C1-4DF4-9145-CBCE98BF3F47}" dt="2019-06-25T08:27:09.365" v="713" actId="478"/>
          <ac:spMkLst>
            <pc:docMk/>
            <pc:sldMk cId="3735817327" sldId="338"/>
            <ac:spMk id="5" creationId="{00000000-0000-0000-0000-000000000000}"/>
          </ac:spMkLst>
        </pc:spChg>
      </pc:sldChg>
      <pc:sldChg chg="addSp delSp modSp add mod setBg">
        <pc:chgData name="Rosmorduc Vinca" userId="ad80fc01-cf55-4376-a825-a887c8046f05" providerId="ADAL" clId="{67A51777-55C1-4DF4-9145-CBCE98BF3F47}" dt="2019-06-25T08:03:40.249" v="201" actId="20577"/>
        <pc:sldMkLst>
          <pc:docMk/>
          <pc:sldMk cId="4197196884" sldId="756"/>
        </pc:sldMkLst>
        <pc:spChg chg="mod ord">
          <ac:chgData name="Rosmorduc Vinca" userId="ad80fc01-cf55-4376-a825-a887c8046f05" providerId="ADAL" clId="{67A51777-55C1-4DF4-9145-CBCE98BF3F47}" dt="2019-06-25T08:03:40.249" v="201" actId="20577"/>
          <ac:spMkLst>
            <pc:docMk/>
            <pc:sldMk cId="4197196884" sldId="756"/>
            <ac:spMk id="7" creationId="{00000000-0000-0000-0000-000000000000}"/>
          </ac:spMkLst>
        </pc:spChg>
        <pc:spChg chg="mod">
          <ac:chgData name="Rosmorduc Vinca" userId="ad80fc01-cf55-4376-a825-a887c8046f05" providerId="ADAL" clId="{67A51777-55C1-4DF4-9145-CBCE98BF3F47}" dt="2019-06-25T08:02:39.734" v="98" actId="1076"/>
          <ac:spMkLst>
            <pc:docMk/>
            <pc:sldMk cId="4197196884" sldId="756"/>
            <ac:spMk id="8" creationId="{00000000-0000-0000-0000-000000000000}"/>
          </ac:spMkLst>
        </pc:spChg>
        <pc:picChg chg="add mod">
          <ac:chgData name="Rosmorduc Vinca" userId="ad80fc01-cf55-4376-a825-a887c8046f05" providerId="ADAL" clId="{67A51777-55C1-4DF4-9145-CBCE98BF3F47}" dt="2019-06-25T08:02:35.137" v="97" actId="26606"/>
          <ac:picMkLst>
            <pc:docMk/>
            <pc:sldMk cId="4197196884" sldId="756"/>
            <ac:picMk id="3" creationId="{790360D5-1A27-452C-AED8-61A17FB140DA}"/>
          </ac:picMkLst>
        </pc:picChg>
        <pc:picChg chg="del mod">
          <ac:chgData name="Rosmorduc Vinca" userId="ad80fc01-cf55-4376-a825-a887c8046f05" providerId="ADAL" clId="{67A51777-55C1-4DF4-9145-CBCE98BF3F47}" dt="2019-06-25T08:01:38.230" v="76" actId="478"/>
          <ac:picMkLst>
            <pc:docMk/>
            <pc:sldMk cId="4197196884" sldId="756"/>
            <ac:picMk id="3074" creationId="{00000000-0000-0000-0000-000000000000}"/>
          </ac:picMkLst>
        </pc:picChg>
        <pc:cxnChg chg="add del">
          <ac:chgData name="Rosmorduc Vinca" userId="ad80fc01-cf55-4376-a825-a887c8046f05" providerId="ADAL" clId="{67A51777-55C1-4DF4-9145-CBCE98BF3F47}" dt="2019-06-25T08:02:35.137" v="97" actId="26606"/>
          <ac:cxnSpMkLst>
            <pc:docMk/>
            <pc:sldMk cId="4197196884" sldId="756"/>
            <ac:cxnSpMk id="13" creationId="{A7F400EE-A8A5-48AF-B4D6-291B52C6F0B0}"/>
          </ac:cxnSpMkLst>
        </pc:cxnChg>
      </pc:sldChg>
      <pc:sldChg chg="addSp delSp modSp add">
        <pc:chgData name="Rosmorduc Vinca" userId="ad80fc01-cf55-4376-a825-a887c8046f05" providerId="ADAL" clId="{67A51777-55C1-4DF4-9145-CBCE98BF3F47}" dt="2019-06-25T08:11:42.220" v="695" actId="20577"/>
        <pc:sldMkLst>
          <pc:docMk/>
          <pc:sldMk cId="208100385" sldId="757"/>
        </pc:sldMkLst>
        <pc:spChg chg="mod">
          <ac:chgData name="Rosmorduc Vinca" userId="ad80fc01-cf55-4376-a825-a887c8046f05" providerId="ADAL" clId="{67A51777-55C1-4DF4-9145-CBCE98BF3F47}" dt="2019-06-25T08:05:37.330" v="314" actId="14100"/>
          <ac:spMkLst>
            <pc:docMk/>
            <pc:sldMk cId="208100385" sldId="757"/>
            <ac:spMk id="2" creationId="{936570F6-BF97-46B8-AE99-7370D07B238C}"/>
          </ac:spMkLst>
        </pc:spChg>
        <pc:spChg chg="mod">
          <ac:chgData name="Rosmorduc Vinca" userId="ad80fc01-cf55-4376-a825-a887c8046f05" providerId="ADAL" clId="{67A51777-55C1-4DF4-9145-CBCE98BF3F47}" dt="2019-06-25T08:11:11.440" v="689" actId="20577"/>
          <ac:spMkLst>
            <pc:docMk/>
            <pc:sldMk cId="208100385" sldId="757"/>
            <ac:spMk id="3" creationId="{25D476FF-1EB0-4A6F-A7ED-B5D866D2C734}"/>
          </ac:spMkLst>
        </pc:spChg>
        <pc:spChg chg="del mod">
          <ac:chgData name="Rosmorduc Vinca" userId="ad80fc01-cf55-4376-a825-a887c8046f05" providerId="ADAL" clId="{67A51777-55C1-4DF4-9145-CBCE98BF3F47}" dt="2019-06-25T08:05:48.473" v="317"/>
          <ac:spMkLst>
            <pc:docMk/>
            <pc:sldMk cId="208100385" sldId="757"/>
            <ac:spMk id="4" creationId="{D3BA4C0A-6AAC-4072-838C-ED8B595688F5}"/>
          </ac:spMkLst>
        </pc:spChg>
        <pc:spChg chg="add mod">
          <ac:chgData name="Rosmorduc Vinca" userId="ad80fc01-cf55-4376-a825-a887c8046f05" providerId="ADAL" clId="{67A51777-55C1-4DF4-9145-CBCE98BF3F47}" dt="2019-06-25T08:11:42.220" v="695" actId="20577"/>
          <ac:spMkLst>
            <pc:docMk/>
            <pc:sldMk cId="208100385" sldId="757"/>
            <ac:spMk id="7" creationId="{85BC21AB-30EC-4BCE-8C90-5982497F19EE}"/>
          </ac:spMkLst>
        </pc:spChg>
        <pc:spChg chg="add mod">
          <ac:chgData name="Rosmorduc Vinca" userId="ad80fc01-cf55-4376-a825-a887c8046f05" providerId="ADAL" clId="{67A51777-55C1-4DF4-9145-CBCE98BF3F47}" dt="2019-06-25T08:10:46.750" v="656" actId="1076"/>
          <ac:spMkLst>
            <pc:docMk/>
            <pc:sldMk cId="208100385" sldId="757"/>
            <ac:spMk id="11" creationId="{820C1AD9-0BE4-422B-BE75-66F869D66BC1}"/>
          </ac:spMkLst>
        </pc:spChg>
        <pc:picChg chg="add mod">
          <ac:chgData name="Rosmorduc Vinca" userId="ad80fc01-cf55-4376-a825-a887c8046f05" providerId="ADAL" clId="{67A51777-55C1-4DF4-9145-CBCE98BF3F47}" dt="2019-06-25T08:11:30.814" v="692" actId="1076"/>
          <ac:picMkLst>
            <pc:docMk/>
            <pc:sldMk cId="208100385" sldId="757"/>
            <ac:picMk id="6" creationId="{3F332217-4209-43E9-8EAE-41B0A5BFC930}"/>
          </ac:picMkLst>
        </pc:picChg>
        <pc:picChg chg="add mod">
          <ac:chgData name="Rosmorduc Vinca" userId="ad80fc01-cf55-4376-a825-a887c8046f05" providerId="ADAL" clId="{67A51777-55C1-4DF4-9145-CBCE98BF3F47}" dt="2019-06-25T08:10:32.926" v="639" actId="1076"/>
          <ac:picMkLst>
            <pc:docMk/>
            <pc:sldMk cId="208100385" sldId="757"/>
            <ac:picMk id="9" creationId="{F78EFDA0-80DB-459B-B5F0-82D1D7A8B1E4}"/>
          </ac:picMkLst>
        </pc:picChg>
        <pc:picChg chg="add mod modCrop">
          <ac:chgData name="Rosmorduc Vinca" userId="ad80fc01-cf55-4376-a825-a887c8046f05" providerId="ADAL" clId="{67A51777-55C1-4DF4-9145-CBCE98BF3F47}" dt="2019-06-25T08:10:32.926" v="639" actId="1076"/>
          <ac:picMkLst>
            <pc:docMk/>
            <pc:sldMk cId="208100385" sldId="757"/>
            <ac:picMk id="10" creationId="{1CC81A18-151A-4BFC-902D-292856D24776}"/>
          </ac:picMkLst>
        </pc:picChg>
      </pc:sldChg>
      <pc:sldMasterChg chg="delSldLayout">
        <pc:chgData name="Rosmorduc Vinca" userId="ad80fc01-cf55-4376-a825-a887c8046f05" providerId="ADAL" clId="{67A51777-55C1-4DF4-9145-CBCE98BF3F47}" dt="2019-06-25T08:26:16.083" v="704" actId="2696"/>
        <pc:sldMasterMkLst>
          <pc:docMk/>
          <pc:sldMasterMk cId="244895398" sldId="2147483648"/>
        </pc:sldMasterMkLst>
      </pc:sldMasterChg>
    </pc:docChg>
  </pc:docChgLst>
  <pc:docChgLst>
    <pc:chgData name="Rosmorduc Vinca" userId="ad80fc01-cf55-4376-a825-a887c8046f05" providerId="ADAL" clId="{6E1A47D9-9C3B-4E3D-BA22-1900CBC01CBA}"/>
    <pc:docChg chg="modSld">
      <pc:chgData name="Rosmorduc Vinca" userId="ad80fc01-cf55-4376-a825-a887c8046f05" providerId="ADAL" clId="{6E1A47D9-9C3B-4E3D-BA22-1900CBC01CBA}" dt="2019-08-05T15:14:32.334" v="34" actId="20577"/>
      <pc:docMkLst>
        <pc:docMk/>
      </pc:docMkLst>
      <pc:sldChg chg="modSp">
        <pc:chgData name="Rosmorduc Vinca" userId="ad80fc01-cf55-4376-a825-a887c8046f05" providerId="ADAL" clId="{6E1A47D9-9C3B-4E3D-BA22-1900CBC01CBA}" dt="2019-08-05T15:14:14.366" v="25" actId="20577"/>
        <pc:sldMkLst>
          <pc:docMk/>
          <pc:sldMk cId="0" sldId="330"/>
        </pc:sldMkLst>
        <pc:spChg chg="mod">
          <ac:chgData name="Rosmorduc Vinca" userId="ad80fc01-cf55-4376-a825-a887c8046f05" providerId="ADAL" clId="{6E1A47D9-9C3B-4E3D-BA22-1900CBC01CBA}" dt="2019-08-05T15:14:14.366" v="25" actId="20577"/>
          <ac:spMkLst>
            <pc:docMk/>
            <pc:sldMk cId="0" sldId="330"/>
            <ac:spMk id="130055" creationId="{00000000-0000-0000-0000-000000000000}"/>
          </ac:spMkLst>
        </pc:spChg>
      </pc:sldChg>
      <pc:sldChg chg="modSp">
        <pc:chgData name="Rosmorduc Vinca" userId="ad80fc01-cf55-4376-a825-a887c8046f05" providerId="ADAL" clId="{6E1A47D9-9C3B-4E3D-BA22-1900CBC01CBA}" dt="2019-08-05T15:14:32.334" v="34" actId="20577"/>
        <pc:sldMkLst>
          <pc:docMk/>
          <pc:sldMk cId="3735817327" sldId="338"/>
        </pc:sldMkLst>
        <pc:spChg chg="mod">
          <ac:chgData name="Rosmorduc Vinca" userId="ad80fc01-cf55-4376-a825-a887c8046f05" providerId="ADAL" clId="{6E1A47D9-9C3B-4E3D-BA22-1900CBC01CBA}" dt="2019-08-05T15:14:32.334" v="34" actId="20577"/>
          <ac:spMkLst>
            <pc:docMk/>
            <pc:sldMk cId="3735817327" sldId="338"/>
            <ac:spMk id="252936" creationId="{00000000-0000-0000-0000-000000000000}"/>
          </ac:spMkLst>
        </pc:spChg>
      </pc:sldChg>
      <pc:sldChg chg="modSp">
        <pc:chgData name="Rosmorduc Vinca" userId="ad80fc01-cf55-4376-a825-a887c8046f05" providerId="ADAL" clId="{6E1A47D9-9C3B-4E3D-BA22-1900CBC01CBA}" dt="2019-08-05T15:13:54.523" v="8" actId="20577"/>
        <pc:sldMkLst>
          <pc:docMk/>
          <pc:sldMk cId="4197196884" sldId="756"/>
        </pc:sldMkLst>
        <pc:spChg chg="mod">
          <ac:chgData name="Rosmorduc Vinca" userId="ad80fc01-cf55-4376-a825-a887c8046f05" providerId="ADAL" clId="{6E1A47D9-9C3B-4E3D-BA22-1900CBC01CBA}" dt="2019-08-05T15:13:54.523" v="8" actId="20577"/>
          <ac:spMkLst>
            <pc:docMk/>
            <pc:sldMk cId="4197196884" sldId="756"/>
            <ac:spMk id="7" creationId="{00000000-0000-0000-0000-000000000000}"/>
          </ac:spMkLst>
        </pc:spChg>
      </pc:sldChg>
      <pc:sldChg chg="modSp">
        <pc:chgData name="Rosmorduc Vinca" userId="ad80fc01-cf55-4376-a825-a887c8046f05" providerId="ADAL" clId="{6E1A47D9-9C3B-4E3D-BA22-1900CBC01CBA}" dt="2019-08-05T15:14:03.507" v="17" actId="20577"/>
        <pc:sldMkLst>
          <pc:docMk/>
          <pc:sldMk cId="208100385" sldId="757"/>
        </pc:sldMkLst>
        <pc:spChg chg="mod">
          <ac:chgData name="Rosmorduc Vinca" userId="ad80fc01-cf55-4376-a825-a887c8046f05" providerId="ADAL" clId="{6E1A47D9-9C3B-4E3D-BA22-1900CBC01CBA}" dt="2019-08-05T15:14:03.507" v="17" actId="20577"/>
          <ac:spMkLst>
            <pc:docMk/>
            <pc:sldMk cId="208100385" sldId="757"/>
            <ac:spMk id="3" creationId="{25D476FF-1EB0-4A6F-A7ED-B5D866D2C734}"/>
          </ac:spMkLst>
        </pc:spChg>
      </pc:sldChg>
    </pc:docChg>
  </pc:docChgLst>
  <pc:docChgLst>
    <pc:chgData name="Rosmorduc Vinca" userId="ad80fc01-cf55-4376-a825-a887c8046f05" providerId="ADAL" clId="{F3570E45-C373-4AA2-A669-3D14CA644470}"/>
    <pc:docChg chg="modSld">
      <pc:chgData name="Rosmorduc Vinca" userId="ad80fc01-cf55-4376-a825-a887c8046f05" providerId="ADAL" clId="{F3570E45-C373-4AA2-A669-3D14CA644470}" dt="2024-01-26T11:04:13.347" v="15" actId="6549"/>
      <pc:docMkLst>
        <pc:docMk/>
      </pc:docMkLst>
      <pc:sldChg chg="modSp mod">
        <pc:chgData name="Rosmorduc Vinca" userId="ad80fc01-cf55-4376-a825-a887c8046f05" providerId="ADAL" clId="{F3570E45-C373-4AA2-A669-3D14CA644470}" dt="2024-01-26T11:03:43.982" v="13" actId="20577"/>
        <pc:sldMkLst>
          <pc:docMk/>
          <pc:sldMk cId="0" sldId="330"/>
        </pc:sldMkLst>
        <pc:spChg chg="mod">
          <ac:chgData name="Rosmorduc Vinca" userId="ad80fc01-cf55-4376-a825-a887c8046f05" providerId="ADAL" clId="{F3570E45-C373-4AA2-A669-3D14CA644470}" dt="2024-01-26T11:03:43.982" v="13" actId="20577"/>
          <ac:spMkLst>
            <pc:docMk/>
            <pc:sldMk cId="0" sldId="330"/>
            <ac:spMk id="40971" creationId="{00000000-0000-0000-0000-000000000000}"/>
          </ac:spMkLst>
        </pc:spChg>
        <pc:spChg chg="mod">
          <ac:chgData name="Rosmorduc Vinca" userId="ad80fc01-cf55-4376-a825-a887c8046f05" providerId="ADAL" clId="{F3570E45-C373-4AA2-A669-3D14CA644470}" dt="2024-01-26T11:03:36.735" v="12" actId="6549"/>
          <ac:spMkLst>
            <pc:docMk/>
            <pc:sldMk cId="0" sldId="330"/>
            <ac:spMk id="40976" creationId="{00000000-0000-0000-0000-000000000000}"/>
          </ac:spMkLst>
        </pc:spChg>
        <pc:spChg chg="mod">
          <ac:chgData name="Rosmorduc Vinca" userId="ad80fc01-cf55-4376-a825-a887c8046f05" providerId="ADAL" clId="{F3570E45-C373-4AA2-A669-3D14CA644470}" dt="2024-01-26T11:03:24.798" v="6" actId="6549"/>
          <ac:spMkLst>
            <pc:docMk/>
            <pc:sldMk cId="0" sldId="330"/>
            <ac:spMk id="130065" creationId="{00000000-0000-0000-0000-000000000000}"/>
          </ac:spMkLst>
        </pc:spChg>
      </pc:sldChg>
      <pc:sldChg chg="modSp mod">
        <pc:chgData name="Rosmorduc Vinca" userId="ad80fc01-cf55-4376-a825-a887c8046f05" providerId="ADAL" clId="{F3570E45-C373-4AA2-A669-3D14CA644470}" dt="2024-01-26T11:04:13.347" v="15" actId="6549"/>
        <pc:sldMkLst>
          <pc:docMk/>
          <pc:sldMk cId="3735817327" sldId="338"/>
        </pc:sldMkLst>
        <pc:spChg chg="mod">
          <ac:chgData name="Rosmorduc Vinca" userId="ad80fc01-cf55-4376-a825-a887c8046f05" providerId="ADAL" clId="{F3570E45-C373-4AA2-A669-3D14CA644470}" dt="2024-01-26T11:04:13.347" v="15" actId="6549"/>
          <ac:spMkLst>
            <pc:docMk/>
            <pc:sldMk cId="3735817327" sldId="338"/>
            <ac:spMk id="252938" creationId="{00000000-0000-0000-0000-000000000000}"/>
          </ac:spMkLst>
        </pc:spChg>
        <pc:spChg chg="mod">
          <ac:chgData name="Rosmorduc Vinca" userId="ad80fc01-cf55-4376-a825-a887c8046f05" providerId="ADAL" clId="{F3570E45-C373-4AA2-A669-3D14CA644470}" dt="2024-01-26T11:04:08.439" v="14" actId="6549"/>
          <ac:spMkLst>
            <pc:docMk/>
            <pc:sldMk cId="3735817327" sldId="338"/>
            <ac:spMk id="252941" creationId="{00000000-0000-0000-0000-000000000000}"/>
          </ac:spMkLst>
        </pc:spChg>
      </pc:sldChg>
    </pc:docChg>
  </pc:docChgLst>
  <pc:docChgLst>
    <pc:chgData name="Rosmorduc Vinca" userId="ad80fc01-cf55-4376-a825-a887c8046f05" providerId="ADAL" clId="{B7DA0F21-3A3D-49C9-BC55-36856A9D60C9}"/>
    <pc:docChg chg="addSld modSld modMainMaster">
      <pc:chgData name="Rosmorduc Vinca" userId="ad80fc01-cf55-4376-a825-a887c8046f05" providerId="ADAL" clId="{B7DA0F21-3A3D-49C9-BC55-36856A9D60C9}" dt="2020-11-16T09:15:40.203" v="60" actId="20577"/>
      <pc:docMkLst>
        <pc:docMk/>
      </pc:docMkLst>
      <pc:sldChg chg="modNotesTx">
        <pc:chgData name="Rosmorduc Vinca" userId="ad80fc01-cf55-4376-a825-a887c8046f05" providerId="ADAL" clId="{B7DA0F21-3A3D-49C9-BC55-36856A9D60C9}" dt="2020-11-16T09:15:40.203" v="60" actId="20577"/>
        <pc:sldMkLst>
          <pc:docMk/>
          <pc:sldMk cId="3735817327" sldId="338"/>
        </pc:sldMkLst>
      </pc:sldChg>
      <pc:sldChg chg="addSp modSp">
        <pc:chgData name="Rosmorduc Vinca" userId="ad80fc01-cf55-4376-a825-a887c8046f05" providerId="ADAL" clId="{B7DA0F21-3A3D-49C9-BC55-36856A9D60C9}" dt="2020-11-16T09:11:29" v="29" actId="164"/>
        <pc:sldMkLst>
          <pc:docMk/>
          <pc:sldMk cId="4197196884" sldId="756"/>
        </pc:sldMkLst>
        <pc:spChg chg="add mod">
          <ac:chgData name="Rosmorduc Vinca" userId="ad80fc01-cf55-4376-a825-a887c8046f05" providerId="ADAL" clId="{B7DA0F21-3A3D-49C9-BC55-36856A9D60C9}" dt="2020-11-16T09:11:29" v="29" actId="164"/>
          <ac:spMkLst>
            <pc:docMk/>
            <pc:sldMk cId="4197196884" sldId="756"/>
            <ac:spMk id="5" creationId="{874430F8-4B8B-4ED2-846C-D07F5A5D2CE3}"/>
          </ac:spMkLst>
        </pc:spChg>
        <pc:grpChg chg="add mod">
          <ac:chgData name="Rosmorduc Vinca" userId="ad80fc01-cf55-4376-a825-a887c8046f05" providerId="ADAL" clId="{B7DA0F21-3A3D-49C9-BC55-36856A9D60C9}" dt="2020-11-16T09:11:29" v="29" actId="164"/>
          <ac:grpSpMkLst>
            <pc:docMk/>
            <pc:sldMk cId="4197196884" sldId="756"/>
            <ac:grpSpMk id="2" creationId="{01378459-CCE8-45C2-BA7F-3A595469C9CB}"/>
          </ac:grpSpMkLst>
        </pc:grpChg>
        <pc:picChg chg="mod">
          <ac:chgData name="Rosmorduc Vinca" userId="ad80fc01-cf55-4376-a825-a887c8046f05" providerId="ADAL" clId="{B7DA0F21-3A3D-49C9-BC55-36856A9D60C9}" dt="2020-11-16T09:11:29" v="29" actId="164"/>
          <ac:picMkLst>
            <pc:docMk/>
            <pc:sldMk cId="4197196884" sldId="756"/>
            <ac:picMk id="10" creationId="{BA2B2780-7EFE-4532-AA13-8F853C4A72E0}"/>
          </ac:picMkLst>
        </pc:picChg>
      </pc:sldChg>
      <pc:sldChg chg="addSp modSp mod">
        <pc:chgData name="Rosmorduc Vinca" userId="ad80fc01-cf55-4376-a825-a887c8046f05" providerId="ADAL" clId="{B7DA0F21-3A3D-49C9-BC55-36856A9D60C9}" dt="2020-11-16T09:12:32.635" v="45" actId="1035"/>
        <pc:sldMkLst>
          <pc:docMk/>
          <pc:sldMk cId="208100385" sldId="757"/>
        </pc:sldMkLst>
        <pc:spChg chg="mod">
          <ac:chgData name="Rosmorduc Vinca" userId="ad80fc01-cf55-4376-a825-a887c8046f05" providerId="ADAL" clId="{B7DA0F21-3A3D-49C9-BC55-36856A9D60C9}" dt="2020-11-16T09:12:32.635" v="45" actId="1035"/>
          <ac:spMkLst>
            <pc:docMk/>
            <pc:sldMk cId="208100385" sldId="757"/>
            <ac:spMk id="3" creationId="{25D476FF-1EB0-4A6F-A7ED-B5D866D2C734}"/>
          </ac:spMkLst>
        </pc:spChg>
        <pc:spChg chg="add mod">
          <ac:chgData name="Rosmorduc Vinca" userId="ad80fc01-cf55-4376-a825-a887c8046f05" providerId="ADAL" clId="{B7DA0F21-3A3D-49C9-BC55-36856A9D60C9}" dt="2020-11-16T09:12:24.118" v="32" actId="20577"/>
          <ac:spMkLst>
            <pc:docMk/>
            <pc:sldMk cId="208100385" sldId="757"/>
            <ac:spMk id="9" creationId="{D83743F4-C674-4566-8A42-4327B1133750}"/>
          </ac:spMkLst>
        </pc:spChg>
        <pc:spChg chg="mod">
          <ac:chgData name="Rosmorduc Vinca" userId="ad80fc01-cf55-4376-a825-a887c8046f05" providerId="ADAL" clId="{B7DA0F21-3A3D-49C9-BC55-36856A9D60C9}" dt="2020-11-16T09:12:32.635" v="45" actId="1035"/>
          <ac:spMkLst>
            <pc:docMk/>
            <pc:sldMk cId="208100385" sldId="757"/>
            <ac:spMk id="11" creationId="{820C1AD9-0BE4-422B-BE75-66F869D66BC1}"/>
          </ac:spMkLst>
        </pc:spChg>
        <pc:picChg chg="mod">
          <ac:chgData name="Rosmorduc Vinca" userId="ad80fc01-cf55-4376-a825-a887c8046f05" providerId="ADAL" clId="{B7DA0F21-3A3D-49C9-BC55-36856A9D60C9}" dt="2020-11-16T09:12:32.635" v="45" actId="1035"/>
          <ac:picMkLst>
            <pc:docMk/>
            <pc:sldMk cId="208100385" sldId="757"/>
            <ac:picMk id="12" creationId="{CF2E277B-1863-40E9-B0D6-8A037F53D926}"/>
          </ac:picMkLst>
        </pc:picChg>
        <pc:picChg chg="mod">
          <ac:chgData name="Rosmorduc Vinca" userId="ad80fc01-cf55-4376-a825-a887c8046f05" providerId="ADAL" clId="{B7DA0F21-3A3D-49C9-BC55-36856A9D60C9}" dt="2020-11-16T09:12:32.635" v="45" actId="1035"/>
          <ac:picMkLst>
            <pc:docMk/>
            <pc:sldMk cId="208100385" sldId="757"/>
            <ac:picMk id="13" creationId="{8337BF14-9E85-42EA-BF59-D6FF65A40899}"/>
          </ac:picMkLst>
        </pc:picChg>
      </pc:sldChg>
      <pc:sldChg chg="addSp modSp new mod modNotesTx">
        <pc:chgData name="Rosmorduc Vinca" userId="ad80fc01-cf55-4376-a825-a887c8046f05" providerId="ADAL" clId="{B7DA0F21-3A3D-49C9-BC55-36856A9D60C9}" dt="2020-11-16T09:15:25.344" v="58" actId="20577"/>
        <pc:sldMkLst>
          <pc:docMk/>
          <pc:sldMk cId="2692248234" sldId="758"/>
        </pc:sldMkLst>
        <pc:spChg chg="mod">
          <ac:chgData name="Rosmorduc Vinca" userId="ad80fc01-cf55-4376-a825-a887c8046f05" providerId="ADAL" clId="{B7DA0F21-3A3D-49C9-BC55-36856A9D60C9}" dt="2020-11-16T09:10:50.446" v="27" actId="20577"/>
          <ac:spMkLst>
            <pc:docMk/>
            <pc:sldMk cId="2692248234" sldId="758"/>
            <ac:spMk id="2" creationId="{2B5488DB-35EF-466A-A481-A86BB77BA9FF}"/>
          </ac:spMkLst>
        </pc:spChg>
        <pc:grpChg chg="add ord">
          <ac:chgData name="Rosmorduc Vinca" userId="ad80fc01-cf55-4376-a825-a887c8046f05" providerId="ADAL" clId="{B7DA0F21-3A3D-49C9-BC55-36856A9D60C9}" dt="2020-11-16T09:10:21.434" v="4" actId="166"/>
          <ac:grpSpMkLst>
            <pc:docMk/>
            <pc:sldMk cId="2692248234" sldId="758"/>
            <ac:grpSpMk id="4" creationId="{B1A2E16C-D993-4BC8-831E-F25461E377C5}"/>
          </ac:grpSpMkLst>
        </pc:grpChg>
        <pc:picChg chg="add mod ord">
          <ac:chgData name="Rosmorduc Vinca" userId="ad80fc01-cf55-4376-a825-a887c8046f05" providerId="ADAL" clId="{B7DA0F21-3A3D-49C9-BC55-36856A9D60C9}" dt="2020-11-16T09:10:40.360" v="8" actId="167"/>
          <ac:picMkLst>
            <pc:docMk/>
            <pc:sldMk cId="2692248234" sldId="758"/>
            <ac:picMk id="8" creationId="{498BCB69-CC48-4D31-A0AD-7DD2FC9F617B}"/>
          </ac:picMkLst>
        </pc:picChg>
      </pc:sldChg>
      <pc:sldMasterChg chg="addSp modSp mod">
        <pc:chgData name="Rosmorduc Vinca" userId="ad80fc01-cf55-4376-a825-a887c8046f05" providerId="ADAL" clId="{B7DA0F21-3A3D-49C9-BC55-36856A9D60C9}" dt="2020-11-16T09:10:11.603" v="1" actId="14100"/>
        <pc:sldMasterMkLst>
          <pc:docMk/>
          <pc:sldMasterMk cId="244895398" sldId="2147483648"/>
        </pc:sldMasterMkLst>
        <pc:spChg chg="mod">
          <ac:chgData name="Rosmorduc Vinca" userId="ad80fc01-cf55-4376-a825-a887c8046f05" providerId="ADAL" clId="{B7DA0F21-3A3D-49C9-BC55-36856A9D60C9}" dt="2020-11-16T09:10:11.603" v="1" actId="14100"/>
          <ac:spMkLst>
            <pc:docMk/>
            <pc:sldMasterMk cId="244895398" sldId="2147483648"/>
            <ac:spMk id="4" creationId="{9B2E09D7-059D-48E0-8220-119A17D23144}"/>
          </ac:spMkLst>
        </pc:spChg>
        <pc:grpChg chg="add">
          <ac:chgData name="Rosmorduc Vinca" userId="ad80fc01-cf55-4376-a825-a887c8046f05" providerId="ADAL" clId="{B7DA0F21-3A3D-49C9-BC55-36856A9D60C9}" dt="2020-11-16T09:10:08.116" v="0"/>
          <ac:grpSpMkLst>
            <pc:docMk/>
            <pc:sldMasterMk cId="244895398" sldId="2147483648"/>
            <ac:grpSpMk id="7" creationId="{24746DEA-AD05-4219-BAA0-C87C63622C15}"/>
          </ac:grpSpMkLst>
        </pc:grp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36B808-6E84-415B-B437-79788C7365CE}" type="datetimeFigureOut">
              <a:rPr lang="fr-FR" smtClean="0"/>
              <a:t>26/01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A81823-C32F-45E3-8D89-09960951202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960892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xcept otherwise noted, “Swot in a nutshell” presentation by </a:t>
            </a:r>
            <a:r>
              <a:rPr lang="en-US" dirty="0" err="1"/>
              <a:t>Cnes</a:t>
            </a:r>
            <a:r>
              <a:rPr lang="en-US" dirty="0"/>
              <a:t>/Aviso is licensed under CC BY-SA 4.0. To view a copy of this license, visit https://creativecommons.org/licenses/by-sa/4.0 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A81823-C32F-45E3-8D89-099609512027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34898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xcept otherwise noted, “Swot in a nutshell” presentation by </a:t>
            </a:r>
            <a:r>
              <a:rPr lang="en-US" dirty="0" err="1"/>
              <a:t>Cnes</a:t>
            </a:r>
            <a:r>
              <a:rPr lang="en-US" dirty="0"/>
              <a:t>/Aviso is licensed under CC BY-SA 4.0. To view a copy of this license, visit https://creativecommons.org/licenses/by-sa/4.0 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A81823-C32F-45E3-8D89-099609512027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132413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xcept otherwise noted, “Swot in a nutshell” presentation by </a:t>
            </a:r>
            <a:r>
              <a:rPr lang="en-US" dirty="0" err="1"/>
              <a:t>Cnes</a:t>
            </a:r>
            <a:r>
              <a:rPr lang="en-US" dirty="0"/>
              <a:t>/Aviso is licensed under CC BY-SA 4.0. To view a copy of this license, visit https://creativecommons.org/licenses/by-sa/4.0 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A81823-C32F-45E3-8D89-099609512027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321573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55650"/>
            <a:ext cx="6869112" cy="3865563"/>
          </a:xfrm>
          <a:ln/>
        </p:spPr>
      </p:sp>
      <p:sp>
        <p:nvSpPr>
          <p:cNvPr id="4198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0275" y="4872038"/>
            <a:ext cx="5187950" cy="4621212"/>
          </a:xfrm>
          <a:noFill/>
          <a:ln/>
        </p:spPr>
        <p:txBody>
          <a:bodyPr lIns="95811" tIns="47905" rIns="95811" bIns="47905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xcept otherwise noted, “Swot in a nutshell” presentation by </a:t>
            </a:r>
            <a:r>
              <a:rPr lang="en-US" dirty="0" err="1"/>
              <a:t>Cnes</a:t>
            </a:r>
            <a:r>
              <a:rPr lang="en-US" dirty="0"/>
              <a:t>/Aviso is licensed under CC BY-SA 4.0. To view a copy of this license, visit https://creativecommons.org/licenses/by-sa/4.0 </a:t>
            </a:r>
          </a:p>
          <a:p>
            <a:endParaRPr lang="fr-FR" dirty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954" name="Rectangle 7"/>
          <p:cNvSpPr txBox="1">
            <a:spLocks noGrp="1" noChangeArrowheads="1"/>
          </p:cNvSpPr>
          <p:nvPr/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048" tIns="49524" rIns="99048" bIns="49524" anchor="b"/>
          <a:lstStyle>
            <a:lvl1pPr defTabSz="990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90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90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90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90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90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90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90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90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/>
            <a:fld id="{DEA99AB6-B7FE-49E6-B0F0-1D60245D1A64}" type="slidenum">
              <a:rPr lang="en-US" sz="1300" b="0">
                <a:ea typeface="ヒラギノ角ゴ Pro W3"/>
                <a:cs typeface="ヒラギノ角ゴ Pro W3"/>
              </a:rPr>
              <a:pPr algn="r"/>
              <a:t>5</a:t>
            </a:fld>
            <a:endParaRPr lang="en-US" sz="1300" b="0">
              <a:ea typeface="ヒラギノ角ゴ Pro W3"/>
              <a:cs typeface="ヒラギノ角ゴ Pro W3"/>
            </a:endParaRPr>
          </a:p>
        </p:txBody>
      </p:sp>
      <p:sp>
        <p:nvSpPr>
          <p:cNvPr id="2539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19900" cy="3836988"/>
          </a:xfrm>
          <a:ln/>
        </p:spPr>
      </p:sp>
      <p:sp>
        <p:nvSpPr>
          <p:cNvPr id="2539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FR" dirty="0"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xcept otherwise noted, “Swot in a nutshell” presentation by </a:t>
            </a:r>
            <a:r>
              <a:rPr lang="en-US" dirty="0" err="1"/>
              <a:t>Cnes</a:t>
            </a:r>
            <a:r>
              <a:rPr lang="en-US" dirty="0"/>
              <a:t>/Aviso is licensed under CC BY-SA 4.0. </a:t>
            </a:r>
            <a:r>
              <a:rPr lang="en-US"/>
              <a:t>To view a copy of this license, visit https://creativecommons.org/licenses/by-sa/4.0 </a:t>
            </a:r>
          </a:p>
          <a:p>
            <a:pPr eaLnBrk="1" hangingPunct="1"/>
            <a:endParaRPr lang="fr-FR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88F5CEA-070A-4417-B819-81E2E1CE19F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 b="1"/>
            </a:lvl1pPr>
          </a:lstStyle>
          <a:p>
            <a:r>
              <a:rPr lang="en-US" noProof="0" dirty="0" err="1"/>
              <a:t>Modifiez</a:t>
            </a:r>
            <a:r>
              <a:rPr lang="en-US" noProof="0" dirty="0"/>
              <a:t> le style du </a:t>
            </a:r>
            <a:r>
              <a:rPr lang="en-US" noProof="0" dirty="0" err="1"/>
              <a:t>titre</a:t>
            </a:r>
            <a:endParaRPr lang="en-US" noProof="0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1AE424CD-F9D2-4878-BF78-25DAAB7487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 err="1"/>
              <a:t>Modifiez</a:t>
            </a:r>
            <a:r>
              <a:rPr lang="en-US" noProof="0" dirty="0"/>
              <a:t> le style des sous-</a:t>
            </a:r>
            <a:r>
              <a:rPr lang="en-US" noProof="0" dirty="0" err="1"/>
              <a:t>titres</a:t>
            </a:r>
            <a:r>
              <a:rPr lang="en-US" noProof="0" dirty="0"/>
              <a:t>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FD53F21-73A9-454A-A5F9-D52906D771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en-US" noProof="0" smtClean="0"/>
              <a:t>1/26/2024</a:t>
            </a:fld>
            <a:endParaRPr lang="en-US" noProof="0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B0541FF-7E2B-42C4-A22D-1062ED9400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520889C-E19E-4B27-B405-450F452708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en-US" noProof="0" smtClean="0"/>
              <a:t>‹N°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09149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4C4D28B-D29C-4216-A854-BF5FD7D5C8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1449" y="136526"/>
            <a:ext cx="11877675" cy="544512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Modifiez</a:t>
            </a:r>
            <a:r>
              <a:rPr lang="en-US" noProof="0" dirty="0"/>
              <a:t> le style du </a:t>
            </a:r>
            <a:r>
              <a:rPr lang="en-US" noProof="0" dirty="0" err="1"/>
              <a:t>titre</a:t>
            </a:r>
            <a:r>
              <a:rPr lang="en-US" noProof="0" dirty="0"/>
              <a:t>	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6DB4917-2839-4853-982E-C7A3D68B671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71449" y="828675"/>
            <a:ext cx="11877675" cy="5410200"/>
          </a:xfrm>
        </p:spPr>
        <p:txBody>
          <a:bodyPr/>
          <a:lstStyle/>
          <a:p>
            <a:pPr lvl="0"/>
            <a:r>
              <a:rPr lang="en-US" noProof="0" dirty="0"/>
              <a:t>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Cinqu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B2F7EC4-F760-4606-A271-009FA2FF0C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en-US" noProof="0" smtClean="0"/>
              <a:t>1/26/2024</a:t>
            </a:fld>
            <a:endParaRPr lang="en-US" noProof="0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D2F36D8-BC59-4A94-A2F4-362BA4938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47FD59C-0D0F-4F00-B17E-A49D35944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en-US" noProof="0" smtClean="0"/>
              <a:t>‹N°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89464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384255E-EE61-4782-B2DB-200F10B41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5400" b="1"/>
            </a:lvl1pPr>
          </a:lstStyle>
          <a:p>
            <a:r>
              <a:rPr lang="en-US" noProof="0" dirty="0" err="1"/>
              <a:t>Modifiez</a:t>
            </a:r>
            <a:r>
              <a:rPr lang="en-US" noProof="0" dirty="0"/>
              <a:t> le style du </a:t>
            </a:r>
            <a:r>
              <a:rPr lang="en-US" noProof="0" dirty="0" err="1"/>
              <a:t>titre</a:t>
            </a:r>
            <a:endParaRPr lang="en-US" noProof="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1EBDF23-3312-4D70-B056-DDDD32D151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5C2FE0F3-5522-4ADC-A0A5-E9B421443F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en-US" noProof="0" smtClean="0"/>
              <a:t>1/26/2024</a:t>
            </a:fld>
            <a:endParaRPr lang="en-US" noProof="0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D9B0902-0F24-47C9-A632-183E9F989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09E96E7-1D0F-4474-A209-E8904D06FF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en-US" noProof="0" smtClean="0"/>
              <a:t>‹N°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911538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F49C3C7-FF13-4F04-B4EF-984DC4EA6D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75" y="136526"/>
            <a:ext cx="11915775" cy="544512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Modifiez</a:t>
            </a:r>
            <a:r>
              <a:rPr lang="en-US" noProof="0" dirty="0"/>
              <a:t> le style du </a:t>
            </a:r>
            <a:r>
              <a:rPr lang="en-US" noProof="0" dirty="0" err="1"/>
              <a:t>titre</a:t>
            </a:r>
            <a:r>
              <a:rPr lang="en-US" noProof="0" dirty="0"/>
              <a:t>	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CC5123F-F076-45D9-8479-8D0DD2E1FB5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42875" y="860425"/>
            <a:ext cx="5181600" cy="5316538"/>
          </a:xfrm>
        </p:spPr>
        <p:txBody>
          <a:bodyPr/>
          <a:lstStyle/>
          <a:p>
            <a:pPr lvl="0"/>
            <a:r>
              <a:rPr lang="en-US" noProof="0" dirty="0"/>
              <a:t>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Cinqu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23467BF8-D26B-43A6-A0F2-422E5B77C7D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860425"/>
            <a:ext cx="5886450" cy="5316538"/>
          </a:xfrm>
        </p:spPr>
        <p:txBody>
          <a:bodyPr/>
          <a:lstStyle/>
          <a:p>
            <a:pPr lvl="0"/>
            <a:r>
              <a:rPr lang="en-US" noProof="0" dirty="0"/>
              <a:t>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Cinqu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7D6209D-0150-46B3-B9F7-D778EC031B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en-US" noProof="0" smtClean="0"/>
              <a:t>1/26/2024</a:t>
            </a:fld>
            <a:endParaRPr lang="en-US" noProof="0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BD29BAB3-0BB2-498E-A41E-4E5DC5E23B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9A522DA9-726B-4ECE-9E3D-1F8D20C8E2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en-US" noProof="0" smtClean="0"/>
              <a:t>‹N°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570010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B065AD-6D3F-43D3-8DE8-3F29E232B7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5773" y="136525"/>
            <a:ext cx="11953461" cy="593727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Modifiez</a:t>
            </a:r>
            <a:r>
              <a:rPr lang="en-US" noProof="0" dirty="0"/>
              <a:t> le style du </a:t>
            </a:r>
            <a:r>
              <a:rPr lang="en-US" noProof="0" dirty="0" err="1"/>
              <a:t>titre</a:t>
            </a:r>
            <a:r>
              <a:rPr lang="en-US" noProof="0" dirty="0"/>
              <a:t>	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6E0266F-5976-46F3-A286-525B47EA523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45774" y="925785"/>
            <a:ext cx="58518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7FD69C4-DB85-4D5D-A601-93979C070E9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145774" y="1749697"/>
            <a:ext cx="5851802" cy="4386060"/>
          </a:xfrm>
        </p:spPr>
        <p:txBody>
          <a:bodyPr/>
          <a:lstStyle/>
          <a:p>
            <a:pPr lvl="0"/>
            <a:r>
              <a:rPr lang="en-US" noProof="0" dirty="0"/>
              <a:t>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Cinqu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40199BB-C1C4-4D8D-921F-97DFFBB60E1B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925785"/>
            <a:ext cx="5927034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8AC63358-E620-4088-B1C3-3725B65BDCD1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72200" y="1749697"/>
            <a:ext cx="5927034" cy="4386060"/>
          </a:xfrm>
        </p:spPr>
        <p:txBody>
          <a:bodyPr/>
          <a:lstStyle/>
          <a:p>
            <a:pPr lvl="0"/>
            <a:r>
              <a:rPr lang="en-US" noProof="0" dirty="0"/>
              <a:t>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Cinqu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4773E05A-6A0F-49AB-BE71-3610D49A57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en-US" noProof="0" smtClean="0"/>
              <a:t>1/26/2024</a:t>
            </a:fld>
            <a:endParaRPr lang="en-US" noProof="0" dirty="0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F411E7CE-EC00-4FDB-91F9-B5F903FCF2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93D6D96F-63B2-4D0F-8FC4-42D842B546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en-US" noProof="0" smtClean="0"/>
              <a:t>‹N°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760690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1A19D51-B8F3-4FCD-8BB9-E5CE45CEBC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3825" y="136525"/>
            <a:ext cx="11925300" cy="511175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Modifiez</a:t>
            </a:r>
            <a:r>
              <a:rPr lang="en-US" noProof="0" dirty="0"/>
              <a:t> le style du </a:t>
            </a:r>
            <a:r>
              <a:rPr lang="en-US" noProof="0" dirty="0" err="1"/>
              <a:t>titre</a:t>
            </a:r>
            <a:r>
              <a:rPr lang="en-US" noProof="0" dirty="0"/>
              <a:t>	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8AFED5C4-4C45-4279-849B-81C8FF2197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en-US" noProof="0" smtClean="0"/>
              <a:t>1/26/2024</a:t>
            </a:fld>
            <a:endParaRPr lang="en-US" noProof="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3AFC307-1864-42F3-A743-B501DFFED2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221DFD17-A629-4CA7-ABD5-C0EAB1E005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en-US" noProof="0" smtClean="0"/>
              <a:t>‹N°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348585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7C7218E0-0B32-4AFB-859C-6806DFAA38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en-US" noProof="0" smtClean="0"/>
              <a:t>1/26/2024</a:t>
            </a:fld>
            <a:endParaRPr lang="en-US" noProof="0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A1BB58F-4998-4854-86E2-64642FAF5E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4F0555D-1F02-4675-B1A9-E66DC1DE48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en-US" noProof="0" smtClean="0"/>
              <a:t>‹N°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977571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E398BE0-AFD1-4C76-ACD4-0E1CEED5A3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noProof="0" dirty="0" err="1"/>
              <a:t>Modifiez</a:t>
            </a:r>
            <a:r>
              <a:rPr lang="en-US" noProof="0" dirty="0"/>
              <a:t> le style du </a:t>
            </a:r>
            <a:r>
              <a:rPr lang="en-US" noProof="0" dirty="0" err="1"/>
              <a:t>titre</a:t>
            </a:r>
            <a:r>
              <a:rPr lang="en-US" noProof="0" dirty="0"/>
              <a:t>	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A701C91-EDE3-426B-8E25-DE50C8821EA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/>
              <a:t>Modifier les styles du texte du masque</a:t>
            </a:r>
          </a:p>
          <a:p>
            <a:pPr lvl="1"/>
            <a:r>
              <a:rPr lang="en-US" noProof="0"/>
              <a:t>Deuxième niveau</a:t>
            </a:r>
          </a:p>
          <a:p>
            <a:pPr lvl="2"/>
            <a:r>
              <a:rPr lang="en-US" noProof="0"/>
              <a:t>Troisième niveau</a:t>
            </a:r>
          </a:p>
          <a:p>
            <a:pPr lvl="3"/>
            <a:r>
              <a:rPr lang="en-US" noProof="0"/>
              <a:t>Quatrième niveau</a:t>
            </a:r>
          </a:p>
          <a:p>
            <a:pPr lvl="4"/>
            <a:r>
              <a:rPr lang="en-US" noProof="0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1B897EB-EF20-4BB1-BDE5-35D0B85FDE9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noProof="0"/>
              <a:t>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FB0F00F-0C11-4018-B77F-B5FE35C13E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en-US" noProof="0" smtClean="0"/>
              <a:t>1/26/2024</a:t>
            </a:fld>
            <a:endParaRPr lang="en-US" noProof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75456D3-842C-47A0-A7E9-B7D44B766C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5AC7A718-3472-48B3-B53C-A5BAEF43F7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en-US" noProof="0" smtClean="0"/>
              <a:t>‹N°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479041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A63C4F8-0AA6-4231-930F-5DD785B21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noProof="0" dirty="0" err="1"/>
              <a:t>Modifiez</a:t>
            </a:r>
            <a:r>
              <a:rPr lang="en-US" noProof="0" dirty="0"/>
              <a:t> le style du </a:t>
            </a:r>
            <a:r>
              <a:rPr lang="en-US" noProof="0" dirty="0" err="1"/>
              <a:t>titre</a:t>
            </a:r>
            <a:r>
              <a:rPr lang="en-US" noProof="0" dirty="0"/>
              <a:t>	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5758A4C4-EA96-4514-AE1E-BBD91B44BF0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noProof="0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EE117699-03A0-425D-B154-69B1C5ADFF1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noProof="0" dirty="0"/>
              <a:t>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2E30936B-5C63-4278-B9F4-7A0699585B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en-US" noProof="0" smtClean="0"/>
              <a:t>1/26/2024</a:t>
            </a:fld>
            <a:endParaRPr lang="en-US" noProof="0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885C98E7-7667-4A3C-B248-FEBD2D36F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D369E184-D042-451A-9DD4-A8C9EA7102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en-US" noProof="0" smtClean="0"/>
              <a:t>‹N°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297120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EEB33AC6-0AC8-4D40-8CEF-AE3DEBA9AC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999" y="225601"/>
            <a:ext cx="11866225" cy="4554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dirty="0" err="1"/>
              <a:t>Modifiez</a:t>
            </a:r>
            <a:r>
              <a:rPr lang="en-US" noProof="0" dirty="0"/>
              <a:t> le style du </a:t>
            </a:r>
            <a:r>
              <a:rPr lang="en-US" noProof="0" dirty="0" err="1"/>
              <a:t>titre</a:t>
            </a:r>
            <a:r>
              <a:rPr lang="en-US" noProof="0" dirty="0"/>
              <a:t>	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49CC7D0-6791-4FCE-9F1E-822F69F1AA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80000" y="818556"/>
            <a:ext cx="11866226" cy="5358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/>
              <a:t>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Cinqu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DBF1255-BAF3-4236-8EFC-79E3CC58CA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3818" y="6356350"/>
            <a:ext cx="25875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AAAA8E-7501-47A7-B225-7AD486BA708D}" type="datetimeFigureOut">
              <a:rPr lang="en-US" noProof="0" smtClean="0"/>
              <a:t>1/26/2024</a:t>
            </a:fld>
            <a:endParaRPr lang="en-US" noProof="0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C4059F9-2BD9-427F-B6CD-A2AFAE7949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B259851-DE26-4373-BDC9-531757928C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2B214D-8A87-443C-8B08-BBD68F3CBDC6}" type="slidenum">
              <a:rPr lang="en-US" noProof="0" smtClean="0"/>
              <a:t>‹N°›</a:t>
            </a:fld>
            <a:endParaRPr lang="en-US" noProof="0" dirty="0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E8BE9280-16A5-4A2F-BD7C-5E085FE82D75}"/>
              </a:ext>
            </a:extLst>
          </p:cNvPr>
          <p:cNvGrpSpPr/>
          <p:nvPr userDrawn="1"/>
        </p:nvGrpSpPr>
        <p:grpSpPr>
          <a:xfrm>
            <a:off x="180000" y="6480000"/>
            <a:ext cx="813818" cy="276018"/>
            <a:chOff x="220980" y="6445457"/>
            <a:chExt cx="813818" cy="276018"/>
          </a:xfrm>
        </p:grpSpPr>
        <p:pic>
          <p:nvPicPr>
            <p:cNvPr id="8" name="Image 7">
              <a:extLst>
                <a:ext uri="{FF2B5EF4-FFF2-40B4-BE49-F238E27FC236}">
                  <a16:creationId xmlns:a16="http://schemas.microsoft.com/office/drawing/2014/main" id="{6016F65D-51E8-47F2-9AE6-20B9B73F52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0980" y="6445457"/>
              <a:ext cx="813818" cy="152400"/>
            </a:xfrm>
            <a:prstGeom prst="rect">
              <a:avLst/>
            </a:prstGeom>
          </p:spPr>
        </p:pic>
        <p:sp>
          <p:nvSpPr>
            <p:cNvPr id="9" name="ZoneTexte 8">
              <a:extLst>
                <a:ext uri="{FF2B5EF4-FFF2-40B4-BE49-F238E27FC236}">
                  <a16:creationId xmlns:a16="http://schemas.microsoft.com/office/drawing/2014/main" id="{C9CFA73D-A6E9-4AB6-A328-D2B90EDFC654}"/>
                </a:ext>
              </a:extLst>
            </p:cNvPr>
            <p:cNvSpPr txBox="1"/>
            <p:nvPr userDrawn="1"/>
          </p:nvSpPr>
          <p:spPr>
            <a:xfrm>
              <a:off x="220980" y="6582976"/>
              <a:ext cx="81381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sz="900" b="1" dirty="0">
                  <a:latin typeface="Arial" panose="020B0604020202020204" pitchFamily="34" charset="0"/>
                  <a:cs typeface="Arial" panose="020B0604020202020204" pitchFamily="34" charset="0"/>
                </a:rPr>
                <a:t>Cnes/Avis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79812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tabLst>
          <a:tab pos="11661775" algn="r"/>
        </a:tabLst>
        <a:defRPr sz="4400" u="sng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slideLayout" Target="../slideLayouts/slideLayout6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e 11">
            <a:extLst>
              <a:ext uri="{FF2B5EF4-FFF2-40B4-BE49-F238E27FC236}">
                <a16:creationId xmlns:a16="http://schemas.microsoft.com/office/drawing/2014/main" id="{C18218F9-DF60-46C6-92E8-143E02281772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id="{65931DBC-17EB-4A92-8E8F-CE7BAAC20EE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9" name="ZoneTexte 8">
              <a:extLst>
                <a:ext uri="{FF2B5EF4-FFF2-40B4-BE49-F238E27FC236}">
                  <a16:creationId xmlns:a16="http://schemas.microsoft.com/office/drawing/2014/main" id="{C2801E88-D21C-42B6-9147-F004BD9E8D78}"/>
                </a:ext>
              </a:extLst>
            </p:cNvPr>
            <p:cNvSpPr txBox="1"/>
            <p:nvPr/>
          </p:nvSpPr>
          <p:spPr>
            <a:xfrm>
              <a:off x="10213702" y="6532879"/>
              <a:ext cx="197829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400" dirty="0">
                  <a:solidFill>
                    <a:schemeClr val="bg1"/>
                  </a:solidFill>
                </a:rPr>
                <a:t>© </a:t>
              </a:r>
              <a:r>
                <a:rPr lang="fr-FR" sz="1400" dirty="0" err="1">
                  <a:solidFill>
                    <a:schemeClr val="bg1"/>
                  </a:solidFill>
                </a:rPr>
                <a:t>Cnes</a:t>
              </a:r>
              <a:r>
                <a:rPr lang="fr-FR" sz="1400" dirty="0">
                  <a:solidFill>
                    <a:schemeClr val="bg1"/>
                  </a:solidFill>
                </a:rPr>
                <a:t>/Mira Production</a:t>
              </a:r>
            </a:p>
          </p:txBody>
        </p:sp>
        <p:grpSp>
          <p:nvGrpSpPr>
            <p:cNvPr id="4" name="Groupe 3">
              <a:extLst>
                <a:ext uri="{FF2B5EF4-FFF2-40B4-BE49-F238E27FC236}">
                  <a16:creationId xmlns:a16="http://schemas.microsoft.com/office/drawing/2014/main" id="{B1A2E16C-D993-4BC8-831E-F25461E377C5}"/>
                </a:ext>
              </a:extLst>
            </p:cNvPr>
            <p:cNvGrpSpPr/>
            <p:nvPr/>
          </p:nvGrpSpPr>
          <p:grpSpPr>
            <a:xfrm>
              <a:off x="180000" y="6480000"/>
              <a:ext cx="813818" cy="276018"/>
              <a:chOff x="220980" y="6445457"/>
              <a:chExt cx="813818" cy="276018"/>
            </a:xfrm>
          </p:grpSpPr>
          <p:pic>
            <p:nvPicPr>
              <p:cNvPr id="5" name="Image 4">
                <a:extLst>
                  <a:ext uri="{FF2B5EF4-FFF2-40B4-BE49-F238E27FC236}">
                    <a16:creationId xmlns:a16="http://schemas.microsoft.com/office/drawing/2014/main" id="{7513BA93-E6B1-441A-8D76-381F64F4A87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20980" y="6445457"/>
                <a:ext cx="813818" cy="152400"/>
              </a:xfrm>
              <a:prstGeom prst="rect">
                <a:avLst/>
              </a:prstGeom>
            </p:spPr>
          </p:pic>
          <p:sp>
            <p:nvSpPr>
              <p:cNvPr id="6" name="ZoneTexte 5">
                <a:extLst>
                  <a:ext uri="{FF2B5EF4-FFF2-40B4-BE49-F238E27FC236}">
                    <a16:creationId xmlns:a16="http://schemas.microsoft.com/office/drawing/2014/main" id="{2812994C-058D-44AB-850F-DE1C79D90B50}"/>
                  </a:ext>
                </a:extLst>
              </p:cNvPr>
              <p:cNvSpPr txBox="1"/>
              <p:nvPr userDrawn="1"/>
            </p:nvSpPr>
            <p:spPr>
              <a:xfrm>
                <a:off x="220980" y="6582976"/>
                <a:ext cx="813818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fr-FR" sz="900" b="1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nes</a:t>
                </a:r>
                <a:r>
                  <a:rPr lang="fr-FR" sz="9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/Aviso</a:t>
                </a:r>
              </a:p>
            </p:txBody>
          </p:sp>
        </p:grpSp>
      </p:grpSp>
      <p:sp>
        <p:nvSpPr>
          <p:cNvPr id="2" name="Titre 1">
            <a:extLst>
              <a:ext uri="{FF2B5EF4-FFF2-40B4-BE49-F238E27FC236}">
                <a16:creationId xmlns:a16="http://schemas.microsoft.com/office/drawing/2014/main" id="{2B5488DB-35EF-466A-A481-A86BB77BA9F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Swot in a nutshell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14EE4D37-05DA-428E-BD08-3C8A002518C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922482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119270" y="0"/>
            <a:ext cx="11930768" cy="759619"/>
          </a:xfrm>
        </p:spPr>
        <p:txBody>
          <a:bodyPr/>
          <a:lstStyle/>
          <a:p>
            <a:r>
              <a:rPr lang="fr-FR" dirty="0"/>
              <a:t>The </a:t>
            </a:r>
            <a:r>
              <a:rPr lang="fr-FR" dirty="0" err="1"/>
              <a:t>Swot</a:t>
            </a:r>
            <a:r>
              <a:rPr lang="fr-FR" dirty="0"/>
              <a:t> mission	</a:t>
            </a:r>
          </a:p>
        </p:txBody>
      </p:sp>
      <p:sp>
        <p:nvSpPr>
          <p:cNvPr id="7" name="Espace réservé du contenu 6"/>
          <p:cNvSpPr>
            <a:spLocks noGrp="1"/>
          </p:cNvSpPr>
          <p:nvPr>
            <p:ph sz="half" idx="1"/>
          </p:nvPr>
        </p:nvSpPr>
        <p:spPr>
          <a:xfrm>
            <a:off x="6168008" y="1124743"/>
            <a:ext cx="5603782" cy="5630619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r>
              <a:rPr lang="en-US" sz="2400" b="1" dirty="0"/>
              <a:t>Partnership between NASA, CNES, the Canadian Space Agency and the UK space agency, </a:t>
            </a:r>
          </a:p>
          <a:p>
            <a:r>
              <a:rPr lang="en-US" sz="2400" b="1" dirty="0"/>
              <a:t>A new concept, wide-swath interferometric altimetry (</a:t>
            </a:r>
            <a:r>
              <a:rPr lang="en-US" sz="2400" b="1" dirty="0" err="1"/>
              <a:t>KaRIn</a:t>
            </a:r>
            <a:r>
              <a:rPr lang="en-US" sz="2400" b="1" dirty="0"/>
              <a:t>)</a:t>
            </a:r>
          </a:p>
          <a:p>
            <a:pPr lvl="1"/>
            <a:r>
              <a:rPr lang="en-US" dirty="0"/>
              <a:t>two 50-km swaths</a:t>
            </a:r>
          </a:p>
          <a:p>
            <a:pPr lvl="1"/>
            <a:r>
              <a:rPr lang="en-US" dirty="0"/>
              <a:t>a bi-dimensional image</a:t>
            </a:r>
          </a:p>
          <a:p>
            <a:pPr lvl="1"/>
            <a:r>
              <a:rPr lang="en-US" dirty="0"/>
              <a:t>All weather, night &amp; day measurements</a:t>
            </a:r>
          </a:p>
          <a:p>
            <a:pPr marL="457200" lvl="1" indent="0">
              <a:buNone/>
            </a:pPr>
            <a:endParaRPr lang="en-US" sz="1800" dirty="0"/>
          </a:p>
          <a:p>
            <a:pPr>
              <a:spcBef>
                <a:spcPts val="600"/>
              </a:spcBef>
            </a:pPr>
            <a:r>
              <a:rPr lang="fr-FR" sz="2400" b="1" dirty="0"/>
              <a:t>Data</a:t>
            </a:r>
          </a:p>
          <a:p>
            <a:pPr lvl="1"/>
            <a:r>
              <a:rPr lang="en-US" dirty="0"/>
              <a:t>Direct measurements: water level, slope, width</a:t>
            </a:r>
          </a:p>
          <a:p>
            <a:pPr lvl="1"/>
            <a:r>
              <a:rPr lang="en-US" i="1" dirty="0"/>
              <a:t>Indirect measurements: discharge, tidal velocities and a</a:t>
            </a:r>
            <a:r>
              <a:rPr lang="en-US" i="1" dirty="0">
                <a:cs typeface="Arial" charset="0"/>
              </a:rPr>
              <a:t>mplitudes</a:t>
            </a:r>
            <a:r>
              <a:rPr lang="en-US" i="1" dirty="0"/>
              <a:t>, wave heights, current velocities…</a:t>
            </a:r>
            <a:endParaRPr lang="en-US" i="1" dirty="0">
              <a:cs typeface="Arial" charset="0"/>
            </a:endParaRPr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01378459-CCE8-45C2-BA7F-3A595469C9CB}"/>
              </a:ext>
            </a:extLst>
          </p:cNvPr>
          <p:cNvGrpSpPr/>
          <p:nvPr/>
        </p:nvGrpSpPr>
        <p:grpSpPr>
          <a:xfrm>
            <a:off x="-1" y="759619"/>
            <a:ext cx="6023993" cy="6094879"/>
            <a:chOff x="-1" y="759619"/>
            <a:chExt cx="6023993" cy="6094879"/>
          </a:xfrm>
        </p:grpSpPr>
        <p:pic>
          <p:nvPicPr>
            <p:cNvPr id="10" name="Image 9">
              <a:extLst>
                <a:ext uri="{FF2B5EF4-FFF2-40B4-BE49-F238E27FC236}">
                  <a16:creationId xmlns:a16="http://schemas.microsoft.com/office/drawing/2014/main" id="{BA2B2780-7EFE-4532-AA13-8F853C4A72E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1" y="759619"/>
              <a:ext cx="6023993" cy="6087148"/>
            </a:xfrm>
            <a:prstGeom prst="rect">
              <a:avLst/>
            </a:prstGeom>
          </p:spPr>
        </p:pic>
        <p:sp>
          <p:nvSpPr>
            <p:cNvPr id="5" name="ZoneTexte 4">
              <a:extLst>
                <a:ext uri="{FF2B5EF4-FFF2-40B4-BE49-F238E27FC236}">
                  <a16:creationId xmlns:a16="http://schemas.microsoft.com/office/drawing/2014/main" id="{874430F8-4B8B-4ED2-846C-D07F5A5D2CE3}"/>
                </a:ext>
              </a:extLst>
            </p:cNvPr>
            <p:cNvSpPr txBox="1"/>
            <p:nvPr/>
          </p:nvSpPr>
          <p:spPr>
            <a:xfrm>
              <a:off x="119270" y="6546721"/>
              <a:ext cx="197829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400" dirty="0">
                  <a:solidFill>
                    <a:schemeClr val="bg2">
                      <a:lumMod val="75000"/>
                    </a:schemeClr>
                  </a:solidFill>
                </a:rPr>
                <a:t>© </a:t>
              </a:r>
              <a:r>
                <a:rPr lang="fr-FR" sz="1400" dirty="0" err="1">
                  <a:solidFill>
                    <a:schemeClr val="bg2">
                      <a:lumMod val="75000"/>
                    </a:schemeClr>
                  </a:solidFill>
                </a:rPr>
                <a:t>Cnes</a:t>
              </a:r>
              <a:r>
                <a:rPr lang="fr-FR" sz="1400" dirty="0">
                  <a:solidFill>
                    <a:schemeClr val="bg2">
                      <a:lumMod val="75000"/>
                    </a:schemeClr>
                  </a:solidFill>
                </a:rPr>
                <a:t>/Mira Produc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971968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36570F6-BF97-46B8-AE99-7370D07B23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20880" cy="681038"/>
          </a:xfrm>
        </p:spPr>
        <p:txBody>
          <a:bodyPr>
            <a:normAutofit fontScale="90000"/>
          </a:bodyPr>
          <a:lstStyle/>
          <a:p>
            <a:r>
              <a:rPr lang="en-US" dirty="0"/>
              <a:t>Swot for hydrology	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5D476FF-1EB0-4A6F-A7ED-B5D866D2C7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622663"/>
            <a:ext cx="5181600" cy="5191443"/>
          </a:xfrm>
        </p:spPr>
        <p:txBody>
          <a:bodyPr/>
          <a:lstStyle/>
          <a:p>
            <a:r>
              <a:rPr lang="en-US" dirty="0"/>
              <a:t>Satellite measurements: </a:t>
            </a:r>
          </a:p>
          <a:p>
            <a:pPr lvl="1"/>
            <a:r>
              <a:rPr lang="en-US" dirty="0"/>
              <a:t>Water height (in 2D), </a:t>
            </a:r>
          </a:p>
          <a:p>
            <a:pPr lvl="1"/>
            <a:r>
              <a:rPr lang="en-US" dirty="0"/>
              <a:t>width, </a:t>
            </a:r>
          </a:p>
          <a:p>
            <a:pPr lvl="1"/>
            <a:r>
              <a:rPr lang="en-US" dirty="0"/>
              <a:t>slope</a:t>
            </a:r>
          </a:p>
          <a:p>
            <a:r>
              <a:rPr lang="en-US" dirty="0"/>
              <a:t>Inferred data: discharge</a:t>
            </a:r>
          </a:p>
        </p:txBody>
      </p:sp>
      <p:pic>
        <p:nvPicPr>
          <p:cNvPr id="6" name="Espace réservé du contenu 5" descr="Une image contenant texte, carte&#10;&#10;Description générée automatiquement">
            <a:extLst>
              <a:ext uri="{FF2B5EF4-FFF2-40B4-BE49-F238E27FC236}">
                <a16:creationId xmlns:a16="http://schemas.microsoft.com/office/drawing/2014/main" id="{3F332217-4209-43E9-8EAE-41B0A5BFC930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1680" y="48292"/>
            <a:ext cx="6299200" cy="5995380"/>
          </a:xfr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85BC21AB-30EC-4BCE-8C90-5982497F19EE}"/>
              </a:ext>
            </a:extLst>
          </p:cNvPr>
          <p:cNvSpPr txBox="1"/>
          <p:nvPr/>
        </p:nvSpPr>
        <p:spPr>
          <a:xfrm>
            <a:off x="7004131" y="5934670"/>
            <a:ext cx="51878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/>
              <a:t>Number of observations of France rivers and lakes during a 21-day cycle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820C1AD9-0BE4-422B-BE75-66F869D66BC1}"/>
              </a:ext>
            </a:extLst>
          </p:cNvPr>
          <p:cNvSpPr txBox="1"/>
          <p:nvPr/>
        </p:nvSpPr>
        <p:spPr>
          <a:xfrm>
            <a:off x="-1" y="5571813"/>
            <a:ext cx="690224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Classical altimetry vs Swot around the Dead Sea (left, classical altimetry, measurements are only under the colored lines ; right, with Swot, measurements are all over the whitened areas)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CF2E277B-1863-40E9-B0D6-8A037F53D92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7713" y="2947781"/>
            <a:ext cx="2423673" cy="2638677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8337BF14-9E85-42EA-BF59-D6FF65A4089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80079" y="2947781"/>
            <a:ext cx="2403888" cy="2617136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D83743F4-C674-4566-8A42-4327B1133750}"/>
              </a:ext>
            </a:extLst>
          </p:cNvPr>
          <p:cNvSpPr txBox="1"/>
          <p:nvPr/>
        </p:nvSpPr>
        <p:spPr>
          <a:xfrm>
            <a:off x="6172202" y="5322411"/>
            <a:ext cx="7248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dirty="0">
                <a:solidFill>
                  <a:schemeClr val="bg2">
                    <a:lumMod val="75000"/>
                  </a:schemeClr>
                </a:solidFill>
              </a:rPr>
              <a:t>© </a:t>
            </a:r>
            <a:r>
              <a:rPr lang="fr-FR" sz="1400" dirty="0" err="1">
                <a:solidFill>
                  <a:schemeClr val="bg2">
                    <a:lumMod val="75000"/>
                  </a:schemeClr>
                </a:solidFill>
              </a:rPr>
              <a:t>Cnes</a:t>
            </a:r>
            <a:endParaRPr lang="fr-FR" sz="1400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1003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15687" y="1770981"/>
            <a:ext cx="11144250" cy="25527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40962" name="Rectangle 32"/>
          <p:cNvSpPr>
            <a:spLocks noChangeArrowheads="1"/>
          </p:cNvSpPr>
          <p:nvPr/>
        </p:nvSpPr>
        <p:spPr bwMode="auto">
          <a:xfrm>
            <a:off x="8529712" y="1254250"/>
            <a:ext cx="2706518" cy="4908550"/>
          </a:xfrm>
          <a:prstGeom prst="rect">
            <a:avLst/>
          </a:prstGeom>
          <a:solidFill>
            <a:srgbClr val="FFFFCC"/>
          </a:solidFill>
          <a:ln w="28575" algn="ctr">
            <a:solidFill>
              <a:schemeClr val="tx1"/>
            </a:solidFill>
            <a:round/>
            <a:headEnd/>
            <a:tailEnd type="stealth" w="lg" len="lg"/>
          </a:ln>
        </p:spPr>
        <p:txBody>
          <a:bodyPr/>
          <a:lstStyle/>
          <a:p>
            <a:pPr eaLnBrk="0" hangingPunct="0"/>
            <a:endParaRPr lang="fr-FR" sz="2400">
              <a:ea typeface="ヒラギノ角ゴ Pro W3"/>
              <a:cs typeface="ヒラギノ角ゴ Pro W3"/>
            </a:endParaRPr>
          </a:p>
        </p:txBody>
      </p:sp>
      <p:sp>
        <p:nvSpPr>
          <p:cNvPr id="40963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45862" y="2699669"/>
            <a:ext cx="1456872" cy="67627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ea typeface="ヒラギノ角ゴ Pro W3"/>
                <a:cs typeface="ヒラギノ角ゴ Pro W3"/>
              </a:rPr>
              <a:t>Rivers</a:t>
            </a:r>
          </a:p>
        </p:txBody>
      </p:sp>
      <p:sp>
        <p:nvSpPr>
          <p:cNvPr id="40964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44273" y="3561682"/>
            <a:ext cx="1458462" cy="67627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ea typeface="ヒラギノ角ゴ Pro W3"/>
                <a:cs typeface="ヒラギノ角ゴ Pro W3"/>
              </a:rPr>
              <a:t>Coastal area</a:t>
            </a:r>
          </a:p>
        </p:txBody>
      </p:sp>
      <p:sp>
        <p:nvSpPr>
          <p:cNvPr id="40965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44273" y="4390356"/>
            <a:ext cx="1466716" cy="1524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ea typeface="ヒラギノ角ゴ Pro W3"/>
                <a:cs typeface="ヒラギノ角ゴ Pro W3"/>
              </a:rPr>
              <a:t>Ocean</a:t>
            </a:r>
          </a:p>
        </p:txBody>
      </p:sp>
      <p:sp>
        <p:nvSpPr>
          <p:cNvPr id="40966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45862" y="1837657"/>
            <a:ext cx="1456872" cy="67627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ea typeface="ヒラギノ角ゴ Pro W3"/>
                <a:cs typeface="ヒラギノ角ゴ Pro W3"/>
              </a:rPr>
              <a:t>Lakes / reservoirs</a:t>
            </a:r>
          </a:p>
        </p:txBody>
      </p:sp>
      <p:sp>
        <p:nvSpPr>
          <p:cNvPr id="130055" name="Rectangle 7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117497" y="1019618"/>
            <a:ext cx="1935242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>
              <a:defRPr/>
            </a:pPr>
            <a:r>
              <a:rPr lang="en-US" b="1" dirty="0">
                <a:solidFill>
                  <a:srgbClr val="000000"/>
                </a:solidFill>
                <a:ea typeface="ヒラギノ角ゴ Pro W3" charset="-128"/>
              </a:rPr>
              <a:t>Inferred measurements</a:t>
            </a:r>
          </a:p>
        </p:txBody>
      </p:sp>
      <p:sp>
        <p:nvSpPr>
          <p:cNvPr id="40968" name="Rectangle 8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959429" y="1780506"/>
            <a:ext cx="209331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600" b="1" dirty="0">
                <a:ea typeface="ヒラギノ角ゴ Pro W3"/>
                <a:cs typeface="ヒラギノ角ゴ Pro W3"/>
              </a:rPr>
              <a:t>Height 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600" dirty="0">
                <a:ea typeface="ヒラギノ角ゴ Pro W3"/>
                <a:cs typeface="ヒラギノ角ゴ Pro W3"/>
              </a:rPr>
              <a:t>Water volume</a:t>
            </a:r>
          </a:p>
          <a:p>
            <a:pPr marL="569913" lvl="2" indent="-166688">
              <a:buClr>
                <a:schemeClr val="tx2"/>
              </a:buClr>
            </a:pPr>
            <a:endParaRPr lang="fr-FR" sz="1000" dirty="0">
              <a:solidFill>
                <a:schemeClr val="bg1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40969" name="Rectangle 9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959429" y="2641723"/>
            <a:ext cx="2093310" cy="743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600" b="1" dirty="0">
                <a:ea typeface="ヒラギノ角ゴ Pro W3"/>
                <a:cs typeface="ヒラギノ角ゴ Pro W3"/>
              </a:rPr>
              <a:t>Height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600" b="1" dirty="0">
                <a:ea typeface="ヒラギノ角ゴ Pro W3"/>
                <a:cs typeface="ヒラギノ角ゴ Pro W3"/>
              </a:rPr>
              <a:t>Surface slope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600" dirty="0">
                <a:ea typeface="ヒラギノ角ゴ Pro W3"/>
                <a:cs typeface="ヒラギノ角ゴ Pro W3"/>
              </a:rPr>
              <a:t>Runoff</a:t>
            </a:r>
          </a:p>
          <a:p>
            <a:pPr marL="569913" lvl="2" indent="-166688">
              <a:buClr>
                <a:schemeClr val="tx2"/>
              </a:buClr>
            </a:pPr>
            <a:endParaRPr lang="fr-FR" sz="1000" dirty="0">
              <a:solidFill>
                <a:schemeClr val="bg1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40970" name="Rectangle 10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959429" y="3482306"/>
            <a:ext cx="2192693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600" b="1" dirty="0">
                <a:ea typeface="ヒラギノ角ゴ Pro W3"/>
                <a:cs typeface="ヒラギノ角ゴ Pro W3"/>
              </a:rPr>
              <a:t>Height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600" dirty="0">
                <a:ea typeface="ヒラギノ角ゴ Pro W3"/>
                <a:cs typeface="ヒラギノ角ゴ Pro W3"/>
              </a:rPr>
              <a:t>Tidal velocities and amplitudes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fr-FR" sz="1000" dirty="0">
              <a:ea typeface="ヒラギノ角ゴ Pro W3"/>
              <a:cs typeface="ヒラギノ角ゴ Pro W3"/>
            </a:endParaRPr>
          </a:p>
          <a:p>
            <a:pPr marL="569913" lvl="2" indent="-166688">
              <a:buClr>
                <a:schemeClr val="tx2"/>
              </a:buClr>
            </a:pPr>
            <a:endParaRPr lang="fr-FR" sz="1000" dirty="0">
              <a:solidFill>
                <a:schemeClr val="bg1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40971" name="Rectangle 11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959429" y="4345906"/>
            <a:ext cx="2093310" cy="156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6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Current velocities</a:t>
            </a:r>
            <a:r>
              <a:rPr lang="en-US" sz="1600" baseline="300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2</a:t>
            </a:r>
            <a:endParaRPr lang="en-US" sz="16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6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Wind speed</a:t>
            </a:r>
            <a:r>
              <a:rPr lang="en-US" sz="1600" baseline="300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3</a:t>
            </a:r>
            <a:endParaRPr lang="en-US" sz="16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6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Wave amplitude</a:t>
            </a:r>
            <a:endParaRPr lang="en-US" sz="1600" b="1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600" b="1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Floating Objects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fr-FR" sz="1000" b="1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569913" lvl="2" indent="-166688">
              <a:buClr>
                <a:schemeClr val="tx2"/>
              </a:buClr>
            </a:pPr>
            <a:endParaRPr lang="fr-FR" sz="10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130060" name="Rectangle 1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890737" y="1296617"/>
            <a:ext cx="3467726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>
              <a:defRPr/>
            </a:pPr>
            <a:r>
              <a:rPr lang="en-US" b="1" dirty="0">
                <a:solidFill>
                  <a:srgbClr val="000000"/>
                </a:solidFill>
                <a:ea typeface="ヒラギノ角ゴ Pro W3" charset="-128"/>
              </a:rPr>
              <a:t>Current application examples</a:t>
            </a:r>
          </a:p>
        </p:txBody>
      </p:sp>
      <p:sp>
        <p:nvSpPr>
          <p:cNvPr id="40973" name="Rectangle 13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879620" y="1770981"/>
            <a:ext cx="4584681" cy="86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>
                <a:ea typeface="ヒラギノ角ゴ Pro W3"/>
                <a:cs typeface="ヒラギノ角ゴ Pro W3"/>
              </a:rPr>
              <a:t>Monitoring of water quantity variations in large lakes (a few hundred km</a:t>
            </a:r>
            <a:r>
              <a:rPr lang="en-US" sz="1400" baseline="30000" dirty="0">
                <a:ea typeface="ヒラギノ角ゴ Pro W3"/>
                <a:cs typeface="ヒラギノ角ゴ Pro W3"/>
              </a:rPr>
              <a:t>2</a:t>
            </a:r>
            <a:r>
              <a:rPr lang="en-US" sz="1400" dirty="0">
                <a:ea typeface="ヒラギノ角ゴ Pro W3"/>
                <a:cs typeface="ヒラギノ角ゴ Pro W3"/>
              </a:rPr>
              <a:t>)</a:t>
            </a:r>
            <a:br>
              <a:rPr lang="en-US" sz="1400" dirty="0">
                <a:ea typeface="ヒラギノ角ゴ Pro W3"/>
                <a:cs typeface="ヒラギノ角ゴ Pro W3"/>
              </a:rPr>
            </a:br>
            <a:r>
              <a:rPr lang="en-US" sz="1400" dirty="0">
                <a:ea typeface="ヒラギノ角ゴ Pro W3"/>
                <a:cs typeface="ヒラギノ角ゴ Pro W3"/>
              </a:rPr>
              <a:t>ex: the drying of Aral Lake seen by </a:t>
            </a:r>
            <a:r>
              <a:rPr lang="en-US" sz="1400" dirty="0" err="1">
                <a:ea typeface="ヒラギノ角ゴ Pro W3"/>
                <a:cs typeface="ヒラギノ角ゴ Pro W3"/>
              </a:rPr>
              <a:t>Topex</a:t>
            </a:r>
            <a:r>
              <a:rPr lang="en-US" sz="1400" dirty="0">
                <a:ea typeface="ヒラギノ角ゴ Pro W3"/>
                <a:cs typeface="ヒラギノ角ゴ Pro W3"/>
              </a:rPr>
              <a:t>/Poseidon</a:t>
            </a:r>
            <a:endParaRPr lang="fr-FR" sz="1400" dirty="0">
              <a:ea typeface="ヒラギノ角ゴ Pro W3"/>
              <a:cs typeface="ヒラギノ角ゴ Pro W3"/>
            </a:endParaRPr>
          </a:p>
        </p:txBody>
      </p:sp>
      <p:sp>
        <p:nvSpPr>
          <p:cNvPr id="40974" name="Rectangle 14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3873273" y="4423694"/>
            <a:ext cx="3493906" cy="55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fr-FR" sz="1000">
              <a:ea typeface="ヒラギノ角ゴ Pro W3"/>
              <a:cs typeface="ヒラギノ角ゴ Pro W3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fr-FR" sz="1000">
              <a:ea typeface="ヒラギノ角ゴ Pro W3"/>
              <a:cs typeface="ヒラギノ角ゴ Pro W3"/>
            </a:endParaRPr>
          </a:p>
        </p:txBody>
      </p:sp>
      <p:sp>
        <p:nvSpPr>
          <p:cNvPr id="40975" name="Rectangle 15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3873273" y="3482306"/>
            <a:ext cx="3493906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>
                <a:ea typeface="ヒラギノ角ゴ Pro W3"/>
                <a:cs typeface="ヒラギノ角ゴ Pro W3"/>
              </a:rPr>
              <a:t>Currently no possibility</a:t>
            </a:r>
          </a:p>
        </p:txBody>
      </p:sp>
      <p:sp>
        <p:nvSpPr>
          <p:cNvPr id="40976" name="Rectangle 16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263721" y="6492874"/>
            <a:ext cx="9853577" cy="328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1. In bold: the quantities measurable directly by Swot. the others are obtained with models/interpolations completed possibly by other measurements</a:t>
            </a:r>
          </a:p>
          <a:p>
            <a:pPr>
              <a:lnSpc>
                <a:spcPct val="90000"/>
              </a:lnSpc>
            </a:pPr>
            <a:r>
              <a:rPr lang="en-US" sz="12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2. Deduce slope measurements from dynamic ocean topography and oceanographic modelling</a:t>
            </a:r>
          </a:p>
          <a:p>
            <a:pPr>
              <a:lnSpc>
                <a:spcPct val="90000"/>
              </a:lnSpc>
            </a:pPr>
            <a:r>
              <a:rPr lang="en-US" sz="12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3. Requiring a </a:t>
            </a:r>
            <a:r>
              <a:rPr lang="en-US" sz="1200" dirty="0" err="1">
                <a:solidFill>
                  <a:srgbClr val="000000"/>
                </a:solidFill>
                <a:ea typeface="ヒラギノ角ゴ Pro W3"/>
                <a:cs typeface="ヒラギノ角ゴ Pro W3"/>
              </a:rPr>
              <a:t>scatterometer</a:t>
            </a:r>
            <a:endParaRPr lang="fr-FR" sz="12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130065" name="Rectangle 17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8645600" y="1273599"/>
            <a:ext cx="2380286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>
              <a:defRPr/>
            </a:pPr>
            <a:r>
              <a:rPr lang="fr-FR" b="1" spc="-150" dirty="0" err="1">
                <a:latin typeface="Arial" pitchFamily="34" charset="0"/>
                <a:ea typeface="ヒラギノ角ゴ Pro W3" charset="-128"/>
                <a:cs typeface="Arial" pitchFamily="34" charset="0"/>
              </a:rPr>
              <a:t>Swot's</a:t>
            </a:r>
            <a:r>
              <a:rPr lang="fr-FR" b="1" spc="-150" dirty="0">
                <a:latin typeface="Arial" pitchFamily="34" charset="0"/>
                <a:ea typeface="ヒラギノ角ゴ Pro W3" charset="-128"/>
                <a:cs typeface="Arial" pitchFamily="34" charset="0"/>
              </a:rPr>
              <a:t> contribution</a:t>
            </a:r>
          </a:p>
        </p:txBody>
      </p:sp>
      <p:sp>
        <p:nvSpPr>
          <p:cNvPr id="40978" name="Rectangle 18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8520996" y="1747963"/>
            <a:ext cx="2724887" cy="173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Coverage of small lakes and reservoirs from 250 m x 250 m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en-US" sz="14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en-US" sz="14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Coverage of all rivers wider than 100 m (50 m target)</a:t>
            </a:r>
            <a:endParaRPr lang="fr-FR" sz="14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fr-FR" sz="10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40979" name="Rectangle 19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8631312" y="4322888"/>
            <a:ext cx="2494702" cy="156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Application to </a:t>
            </a:r>
            <a:r>
              <a:rPr lang="en-US" sz="1400" dirty="0" err="1">
                <a:solidFill>
                  <a:srgbClr val="000000"/>
                </a:solidFill>
                <a:ea typeface="ヒラギノ角ゴ Pro W3"/>
                <a:cs typeface="ヒラギノ角ゴ Pro W3"/>
              </a:rPr>
              <a:t>submesoscale</a:t>
            </a:r>
            <a:r>
              <a:rPr lang="en-US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  (&lt; 300 km)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Better accuracy and mitigation of perturbations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Best resolution (to be confirmed)</a:t>
            </a:r>
            <a:endParaRPr lang="fr-FR" sz="14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40980" name="Rectangle 20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8537510" y="3459288"/>
            <a:ext cx="2659226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Possibility to visualize the coasts for the first time thanks to a better resolution</a:t>
            </a:r>
            <a:endParaRPr lang="fr-FR" sz="10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40981" name="Rectangle 21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3879623" y="2642519"/>
            <a:ext cx="4553796" cy="862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>
                <a:solidFill>
                  <a:schemeClr val="bg1"/>
                </a:solidFill>
                <a:ea typeface="ヒラギノ角ゴ Pro W3"/>
                <a:cs typeface="ヒラギノ角ゴ Pro W3"/>
              </a:rPr>
              <a:t> </a:t>
            </a:r>
            <a:r>
              <a:rPr lang="en-US" sz="1400" dirty="0">
                <a:ea typeface="ヒラギノ角ゴ Pro W3"/>
                <a:cs typeface="ヒラギノ角ゴ Pro W3"/>
              </a:rPr>
              <a:t>Monitoring of water level and variations in large rivers</a:t>
            </a:r>
            <a:br>
              <a:rPr lang="en-US" sz="1400" dirty="0">
                <a:ea typeface="ヒラギノ角ゴ Pro W3"/>
                <a:cs typeface="ヒラギノ角ゴ Pro W3"/>
              </a:rPr>
            </a:br>
            <a:r>
              <a:rPr lang="en-US" sz="1400" dirty="0">
                <a:ea typeface="ヒラギノ角ゴ Pro W3"/>
                <a:cs typeface="ヒラギノ角ゴ Pro W3"/>
              </a:rPr>
              <a:t>ex: Amazon floods seen by </a:t>
            </a:r>
            <a:r>
              <a:rPr lang="en-US" sz="1400" dirty="0" err="1">
                <a:ea typeface="ヒラギノ角ゴ Pro W3"/>
                <a:cs typeface="ヒラギノ角ゴ Pro W3"/>
              </a:rPr>
              <a:t>Topex</a:t>
            </a:r>
            <a:r>
              <a:rPr lang="en-US" sz="1400" dirty="0">
                <a:ea typeface="ヒラギノ角ゴ Pro W3"/>
                <a:cs typeface="ヒラギノ角ゴ Pro W3"/>
              </a:rPr>
              <a:t>/Poseidon</a:t>
            </a:r>
            <a:endParaRPr lang="fr-FR" sz="1400" dirty="0">
              <a:ea typeface="ヒラギノ角ゴ Pro W3"/>
              <a:cs typeface="ヒラギノ角ゴ Pro W3"/>
            </a:endParaRPr>
          </a:p>
        </p:txBody>
      </p:sp>
      <p:sp>
        <p:nvSpPr>
          <p:cNvPr id="40982" name="Rectangle 22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3873272" y="4345907"/>
            <a:ext cx="4542012" cy="170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Measurement of Gulf Stream velocity fields by Envisat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Hurricane Isabel Tracking by Jason-1 and Envisat 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Southern swell measurements (~ten meters) by Jason 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Search and rescue tracking of boats by SAR (resolution according to speed / surface state)</a:t>
            </a:r>
          </a:p>
        </p:txBody>
      </p:sp>
      <p:sp>
        <p:nvSpPr>
          <p:cNvPr id="40983" name="Line 23"/>
          <p:cNvSpPr>
            <a:spLocks noChangeShapeType="1"/>
          </p:cNvSpPr>
          <p:nvPr/>
        </p:nvSpPr>
        <p:spPr bwMode="auto">
          <a:xfrm>
            <a:off x="444272" y="4323681"/>
            <a:ext cx="10673026" cy="0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endParaRPr lang="fr-FR"/>
          </a:p>
        </p:txBody>
      </p:sp>
      <p:sp>
        <p:nvSpPr>
          <p:cNvPr id="40984" name="Line 24"/>
          <p:cNvSpPr>
            <a:spLocks noChangeShapeType="1"/>
          </p:cNvSpPr>
          <p:nvPr/>
        </p:nvSpPr>
        <p:spPr bwMode="auto">
          <a:xfrm>
            <a:off x="444272" y="3468018"/>
            <a:ext cx="10673026" cy="0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endParaRPr lang="fr-FR"/>
          </a:p>
        </p:txBody>
      </p:sp>
      <p:sp>
        <p:nvSpPr>
          <p:cNvPr id="40985" name="Line 25"/>
          <p:cNvSpPr>
            <a:spLocks noChangeShapeType="1"/>
          </p:cNvSpPr>
          <p:nvPr/>
        </p:nvSpPr>
        <p:spPr bwMode="auto">
          <a:xfrm>
            <a:off x="444272" y="2466306"/>
            <a:ext cx="10673026" cy="0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endParaRPr lang="fr-FR"/>
          </a:p>
        </p:txBody>
      </p:sp>
      <p:sp>
        <p:nvSpPr>
          <p:cNvPr id="40986" name="AutoShape 26"/>
          <p:cNvSpPr>
            <a:spLocks noChangeArrowheads="1"/>
          </p:cNvSpPr>
          <p:nvPr/>
        </p:nvSpPr>
        <p:spPr bwMode="gray">
          <a:xfrm rot="5400000">
            <a:off x="7694525" y="5150138"/>
            <a:ext cx="1601788" cy="140964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en-AU" sz="1200" b="1">
              <a:ea typeface="ヒラギノ角ゴ Pro W3"/>
              <a:cs typeface="ヒラギノ角ゴ Pro W3"/>
            </a:endParaRPr>
          </a:p>
        </p:txBody>
      </p:sp>
      <p:sp>
        <p:nvSpPr>
          <p:cNvPr id="40987" name="AutoShape 27"/>
          <p:cNvSpPr>
            <a:spLocks noChangeArrowheads="1"/>
          </p:cNvSpPr>
          <p:nvPr/>
        </p:nvSpPr>
        <p:spPr bwMode="gray">
          <a:xfrm rot="5400000">
            <a:off x="8095369" y="2974469"/>
            <a:ext cx="800100" cy="140964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en-AU" sz="1200" b="1">
              <a:ea typeface="ヒラギノ角ゴ Pro W3"/>
              <a:cs typeface="ヒラギノ角ゴ Pro W3"/>
            </a:endParaRPr>
          </a:p>
        </p:txBody>
      </p:sp>
      <p:sp>
        <p:nvSpPr>
          <p:cNvPr id="40988" name="AutoShape 28"/>
          <p:cNvSpPr>
            <a:spLocks noChangeArrowheads="1"/>
          </p:cNvSpPr>
          <p:nvPr/>
        </p:nvSpPr>
        <p:spPr bwMode="gray">
          <a:xfrm rot="5400000">
            <a:off x="8095369" y="2087057"/>
            <a:ext cx="800100" cy="140964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en-AU" sz="1200" b="1">
              <a:ea typeface="ヒラギノ角ゴ Pro W3"/>
              <a:cs typeface="ヒラギノ角ゴ Pro W3"/>
            </a:endParaRPr>
          </a:p>
        </p:txBody>
      </p:sp>
      <p:sp>
        <p:nvSpPr>
          <p:cNvPr id="40989" name="AutoShape 29"/>
          <p:cNvSpPr>
            <a:spLocks noChangeArrowheads="1"/>
          </p:cNvSpPr>
          <p:nvPr/>
        </p:nvSpPr>
        <p:spPr bwMode="gray">
          <a:xfrm rot="5400000">
            <a:off x="8095369" y="3861882"/>
            <a:ext cx="800100" cy="140964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en-AU" sz="1200" b="1">
              <a:ea typeface="ヒラギノ角ゴ Pro W3"/>
              <a:cs typeface="ヒラギノ角ゴ Pro W3"/>
            </a:endParaRPr>
          </a:p>
        </p:txBody>
      </p:sp>
      <p:sp>
        <p:nvSpPr>
          <p:cNvPr id="40991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he </a:t>
            </a:r>
            <a:r>
              <a:rPr lang="fr-FR" dirty="0" err="1"/>
              <a:t>Swot</a:t>
            </a:r>
            <a:r>
              <a:rPr lang="fr-FR" dirty="0"/>
              <a:t> mission	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930" name="Rectangle 22" descr="ocean"/>
          <p:cNvSpPr>
            <a:spLocks noChangeArrowheads="1"/>
          </p:cNvSpPr>
          <p:nvPr/>
        </p:nvSpPr>
        <p:spPr bwMode="auto">
          <a:xfrm>
            <a:off x="6393954" y="1269357"/>
            <a:ext cx="3446462" cy="2438400"/>
          </a:xfrm>
          <a:prstGeom prst="rect">
            <a:avLst/>
          </a:pr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381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r>
              <a:rPr lang="en-US" dirty="0">
                <a:latin typeface="Calibri" pitchFamily="34" charset="0"/>
                <a:ea typeface="ヒラギノ角ゴ Pro W3"/>
                <a:cs typeface="ヒラギノ角ゴ Pro W3"/>
              </a:rPr>
              <a:t>oceanography</a:t>
            </a:r>
          </a:p>
        </p:txBody>
      </p:sp>
      <p:sp>
        <p:nvSpPr>
          <p:cNvPr id="252931" name="Rectangle 9"/>
          <p:cNvSpPr>
            <a:spLocks noChangeArrowheads="1"/>
          </p:cNvSpPr>
          <p:nvPr/>
        </p:nvSpPr>
        <p:spPr bwMode="auto">
          <a:xfrm rot="-5400000">
            <a:off x="1247279" y="2499670"/>
            <a:ext cx="2133600" cy="282575"/>
          </a:xfrm>
          <a:prstGeom prst="rect">
            <a:avLst/>
          </a:prstGeom>
          <a:solidFill>
            <a:schemeClr val="bg2"/>
          </a:solidFill>
          <a:ln w="12700" algn="ctr">
            <a:solidFill>
              <a:srgbClr val="777777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600" dirty="0">
                <a:latin typeface="Calibri" pitchFamily="34" charset="0"/>
                <a:ea typeface="ヒラギノ角ゴ Pro W3"/>
                <a:cs typeface="ヒラギノ角ゴ Pro W3"/>
              </a:rPr>
              <a:t>Collected data</a:t>
            </a:r>
          </a:p>
        </p:txBody>
      </p:sp>
      <p:sp>
        <p:nvSpPr>
          <p:cNvPr id="252932" name="Rectangle 10"/>
          <p:cNvSpPr>
            <a:spLocks noChangeArrowheads="1"/>
          </p:cNvSpPr>
          <p:nvPr/>
        </p:nvSpPr>
        <p:spPr bwMode="auto">
          <a:xfrm rot="-5400000">
            <a:off x="1242518" y="5219848"/>
            <a:ext cx="2422524" cy="280989"/>
          </a:xfrm>
          <a:prstGeom prst="rect">
            <a:avLst/>
          </a:prstGeom>
          <a:solidFill>
            <a:schemeClr val="bg2"/>
          </a:solidFill>
          <a:ln w="12700" algn="ctr">
            <a:solidFill>
              <a:srgbClr val="777777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600" dirty="0">
                <a:latin typeface="Calibri" pitchFamily="34" charset="0"/>
                <a:ea typeface="ヒラギノ角ゴ Pro W3"/>
                <a:cs typeface="ヒラギノ角ゴ Pro W3"/>
              </a:rPr>
              <a:t>Possible applications</a:t>
            </a:r>
          </a:p>
        </p:txBody>
      </p:sp>
      <p:sp>
        <p:nvSpPr>
          <p:cNvPr id="123915" name="Rectangle 11"/>
          <p:cNvSpPr>
            <a:spLocks noChangeArrowheads="1"/>
          </p:cNvSpPr>
          <p:nvPr/>
        </p:nvSpPr>
        <p:spPr bwMode="auto">
          <a:xfrm>
            <a:off x="2596165" y="1268760"/>
            <a:ext cx="3446098" cy="2438400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8100" algn="ctr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>
              <a:defRPr/>
            </a:pPr>
            <a:r>
              <a:rPr lang="en-US" dirty="0">
                <a:latin typeface="Calibri" pitchFamily="34" charset="0"/>
              </a:rPr>
              <a:t>hydrology</a:t>
            </a:r>
          </a:p>
        </p:txBody>
      </p:sp>
      <p:sp>
        <p:nvSpPr>
          <p:cNvPr id="252936" name="Rectangle 16"/>
          <p:cNvSpPr>
            <a:spLocks noChangeArrowheads="1"/>
          </p:cNvSpPr>
          <p:nvPr/>
        </p:nvSpPr>
        <p:spPr bwMode="auto">
          <a:xfrm>
            <a:off x="2595067" y="1955157"/>
            <a:ext cx="3446463" cy="160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31775" indent="-231775">
              <a:buFontTx/>
              <a:buChar char="•"/>
            </a:pPr>
            <a:r>
              <a:rPr lang="en-US" sz="1400" dirty="0">
                <a:solidFill>
                  <a:schemeClr val="bg1"/>
                </a:solidFill>
                <a:latin typeface="Calibri" pitchFamily="34" charset="0"/>
                <a:ea typeface="ヒラギノ角ゴ Pro W3"/>
                <a:cs typeface="ヒラギノ角ゴ Pro W3"/>
              </a:rPr>
              <a:t>Quantity of water stored in lakes, rivers, reservoirs and other wetlands</a:t>
            </a:r>
          </a:p>
          <a:p>
            <a:pPr marL="231775" indent="-231775">
              <a:buFontTx/>
              <a:buChar char="•"/>
            </a:pPr>
            <a:r>
              <a:rPr lang="en-US" sz="1400" dirty="0">
                <a:solidFill>
                  <a:schemeClr val="bg1"/>
                </a:solidFill>
                <a:latin typeface="Calibri" pitchFamily="34" charset="0"/>
                <a:ea typeface="ヒラギノ角ゴ Pro W3"/>
                <a:cs typeface="ヒラギノ角ゴ Pro W3"/>
              </a:rPr>
              <a:t>Change in stored water quantities</a:t>
            </a:r>
          </a:p>
          <a:p>
            <a:pPr marL="231775" indent="-231775">
              <a:buFontTx/>
              <a:buChar char="•"/>
            </a:pPr>
            <a:r>
              <a:rPr lang="en-US" sz="1400" dirty="0">
                <a:solidFill>
                  <a:schemeClr val="bg1"/>
                </a:solidFill>
                <a:latin typeface="Calibri" pitchFamily="34" charset="0"/>
                <a:ea typeface="ヒラギノ角ゴ Pro W3"/>
                <a:cs typeface="ヒラギノ角ゴ Pro W3"/>
              </a:rPr>
              <a:t>Estimation of </a:t>
            </a:r>
            <a:r>
              <a:rPr lang="en-US" sz="1400">
                <a:solidFill>
                  <a:schemeClr val="bg1"/>
                </a:solidFill>
                <a:latin typeface="Calibri" pitchFamily="34" charset="0"/>
                <a:ea typeface="ヒラギノ角ゴ Pro W3"/>
                <a:cs typeface="ヒラギノ角ゴ Pro W3"/>
              </a:rPr>
              <a:t>the discharge </a:t>
            </a:r>
            <a:r>
              <a:rPr lang="en-US" sz="1400" dirty="0">
                <a:solidFill>
                  <a:schemeClr val="bg1"/>
                </a:solidFill>
                <a:latin typeface="Calibri" pitchFamily="34" charset="0"/>
                <a:ea typeface="ヒラギノ角ゴ Pro W3"/>
                <a:cs typeface="ヒラギノ角ゴ Pro W3"/>
              </a:rPr>
              <a:t>of large rivers</a:t>
            </a:r>
            <a:endParaRPr lang="fr-FR" sz="1400" dirty="0">
              <a:solidFill>
                <a:schemeClr val="bg1"/>
              </a:solidFill>
              <a:latin typeface="Calibri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252937" name="Rectangle 17"/>
          <p:cNvSpPr>
            <a:spLocks noChangeArrowheads="1"/>
          </p:cNvSpPr>
          <p:nvPr/>
        </p:nvSpPr>
        <p:spPr bwMode="auto">
          <a:xfrm>
            <a:off x="2595067" y="4149081"/>
            <a:ext cx="3446463" cy="2422525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marL="342900" indent="-342900">
              <a:buFontTx/>
              <a:buAutoNum type="arabicPeriod"/>
            </a:pPr>
            <a:r>
              <a:rPr lang="en-US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Water sharing management (international &amp; interregional)</a:t>
            </a:r>
          </a:p>
          <a:p>
            <a:pPr marL="342900" indent="-342900">
              <a:buFontTx/>
              <a:buAutoNum type="arabicPeriod"/>
            </a:pPr>
            <a:r>
              <a:rPr lang="en-US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Better modelling of floods</a:t>
            </a:r>
          </a:p>
          <a:p>
            <a:pPr marL="342900" indent="-342900">
              <a:buFontTx/>
              <a:buAutoNum type="arabicPeriod"/>
            </a:pPr>
            <a:r>
              <a:rPr lang="en-US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Freshwater management for urban, industrial and agricultural consumption</a:t>
            </a:r>
          </a:p>
          <a:p>
            <a:pPr marL="342900" indent="-342900">
              <a:buFontTx/>
              <a:buAutoNum type="arabicPeriod"/>
            </a:pPr>
            <a:r>
              <a:rPr lang="en-US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Management of hydroelectric production</a:t>
            </a:r>
          </a:p>
          <a:p>
            <a:pPr marL="342900" indent="-342900">
              <a:buFontTx/>
              <a:buAutoNum type="arabicPeriod"/>
            </a:pPr>
            <a:r>
              <a:rPr lang="en-US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Preventing the spread of epidemics, </a:t>
            </a:r>
          </a:p>
          <a:p>
            <a:pPr marL="342900" indent="-342900">
              <a:buFontTx/>
              <a:buAutoNum type="arabicPeriod"/>
            </a:pPr>
            <a:r>
              <a:rPr lang="en-US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Estuary management</a:t>
            </a:r>
          </a:p>
          <a:p>
            <a:pPr marL="342900" indent="-342900">
              <a:buFontTx/>
              <a:buAutoNum type="arabicPeriod"/>
            </a:pPr>
            <a:r>
              <a:rPr lang="en-US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Help to inland navigation</a:t>
            </a:r>
            <a:endParaRPr lang="fr-FR" sz="1400" dirty="0">
              <a:solidFill>
                <a:srgbClr val="000000"/>
              </a:solidFill>
              <a:latin typeface="Calibri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252938" name="AutoShape 20"/>
          <p:cNvSpPr>
            <a:spLocks noChangeArrowheads="1"/>
          </p:cNvSpPr>
          <p:nvPr/>
        </p:nvSpPr>
        <p:spPr bwMode="auto">
          <a:xfrm flipV="1">
            <a:off x="2594275" y="3717032"/>
            <a:ext cx="3447255" cy="533400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12700" algn="ctr">
            <a:solidFill>
              <a:srgbClr val="777777"/>
            </a:solidFill>
            <a:miter lim="800000"/>
            <a:headEnd/>
            <a:tailEnd/>
          </a:ln>
        </p:spPr>
        <p:txBody>
          <a:bodyPr rot="10800000" anchor="b"/>
          <a:lstStyle/>
          <a:p>
            <a:pPr algn="ctr"/>
            <a:r>
              <a:rPr lang="en-US">
                <a:latin typeface="Calibri" pitchFamily="34" charset="0"/>
                <a:ea typeface="ヒラギノ角ゴ Pro W3"/>
                <a:cs typeface="ヒラギノ角ゴ Pro W3"/>
              </a:rPr>
              <a:t>enable </a:t>
            </a:r>
            <a:r>
              <a:rPr lang="en-US" dirty="0">
                <a:latin typeface="Calibri" pitchFamily="34" charset="0"/>
                <a:ea typeface="ヒラギノ角ゴ Pro W3"/>
                <a:cs typeface="ヒラギノ角ゴ Pro W3"/>
              </a:rPr>
              <a:t>…</a:t>
            </a:r>
          </a:p>
        </p:txBody>
      </p:sp>
      <p:sp>
        <p:nvSpPr>
          <p:cNvPr id="252939" name="Rectangle 21"/>
          <p:cNvSpPr>
            <a:spLocks noChangeArrowheads="1"/>
          </p:cNvSpPr>
          <p:nvPr/>
        </p:nvSpPr>
        <p:spPr bwMode="auto">
          <a:xfrm>
            <a:off x="6393954" y="1794820"/>
            <a:ext cx="3446462" cy="160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31775" indent="-231775">
              <a:buFontTx/>
              <a:buChar char="•"/>
            </a:pPr>
            <a:r>
              <a:rPr lang="en-US" sz="1400" dirty="0">
                <a:solidFill>
                  <a:schemeClr val="bg1"/>
                </a:solidFill>
                <a:latin typeface="Calibri" pitchFamily="34" charset="0"/>
                <a:ea typeface="ヒラギノ角ゴ Pro W3"/>
                <a:cs typeface="ヒラギノ角ゴ Pro W3"/>
              </a:rPr>
              <a:t>Coastal currents</a:t>
            </a:r>
          </a:p>
          <a:p>
            <a:pPr marL="231775" indent="-231775">
              <a:buFontTx/>
              <a:buChar char="•"/>
            </a:pPr>
            <a:r>
              <a:rPr lang="en-US" sz="1400" dirty="0">
                <a:solidFill>
                  <a:schemeClr val="bg1"/>
                </a:solidFill>
                <a:latin typeface="Calibri" pitchFamily="34" charset="0"/>
                <a:ea typeface="ヒラギノ角ゴ Pro W3"/>
                <a:cs typeface="ヒラギノ角ゴ Pro W3"/>
              </a:rPr>
              <a:t>Representation of marine eddies at mesoscale scale</a:t>
            </a:r>
          </a:p>
          <a:p>
            <a:pPr marL="231775" indent="-231775">
              <a:buFontTx/>
              <a:buChar char="•"/>
            </a:pPr>
            <a:r>
              <a:rPr lang="en-US" sz="1400" dirty="0">
                <a:solidFill>
                  <a:schemeClr val="bg1"/>
                </a:solidFill>
                <a:latin typeface="Calibri" pitchFamily="34" charset="0"/>
                <a:ea typeface="ヒラギノ角ゴ Pro W3"/>
                <a:cs typeface="ヒラギノ角ゴ Pro W3"/>
              </a:rPr>
              <a:t>High resolution global ocean altimetry</a:t>
            </a:r>
          </a:p>
          <a:p>
            <a:pPr marL="231775" indent="-231775">
              <a:buFontTx/>
              <a:buChar char="•"/>
            </a:pPr>
            <a:r>
              <a:rPr lang="en-US" sz="1400" dirty="0">
                <a:solidFill>
                  <a:schemeClr val="bg1"/>
                </a:solidFill>
                <a:latin typeface="Calibri" pitchFamily="34" charset="0"/>
                <a:ea typeface="ヒラギノ角ゴ Pro W3"/>
                <a:cs typeface="ヒラギノ角ゴ Pro W3"/>
              </a:rPr>
              <a:t>Ocean Bathymetry</a:t>
            </a:r>
          </a:p>
        </p:txBody>
      </p:sp>
      <p:sp>
        <p:nvSpPr>
          <p:cNvPr id="252940" name="Rectangle 23"/>
          <p:cNvSpPr>
            <a:spLocks noChangeArrowheads="1"/>
          </p:cNvSpPr>
          <p:nvPr/>
        </p:nvSpPr>
        <p:spPr bwMode="auto">
          <a:xfrm>
            <a:off x="6393954" y="4149081"/>
            <a:ext cx="3446462" cy="2422524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marL="342900" indent="-342900">
              <a:buFont typeface="+mj-lt"/>
              <a:buAutoNum type="arabicPeriod" startAt="8"/>
            </a:pPr>
            <a:r>
              <a:rPr lang="en-US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More accurate weather and climate forecasts</a:t>
            </a:r>
          </a:p>
          <a:p>
            <a:pPr marL="342900" indent="-342900">
              <a:buFontTx/>
              <a:buAutoNum type="arabicPeriod" startAt="8"/>
            </a:pPr>
            <a:r>
              <a:rPr lang="en-US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Help to navigation and rescue operations at sea</a:t>
            </a:r>
          </a:p>
          <a:p>
            <a:pPr marL="342900" indent="-342900">
              <a:buFontTx/>
              <a:buAutoNum type="arabicPeriod" startAt="8"/>
            </a:pPr>
            <a:r>
              <a:rPr lang="en-US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Assistance to fishermen </a:t>
            </a:r>
          </a:p>
          <a:p>
            <a:pPr marL="342900" indent="-342900">
              <a:buFontTx/>
              <a:buAutoNum type="arabicPeriod" startAt="8"/>
            </a:pPr>
            <a:r>
              <a:rPr lang="en-US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Assistance to oil platforms</a:t>
            </a:r>
            <a:endParaRPr lang="fr-FR" sz="1400" dirty="0">
              <a:solidFill>
                <a:srgbClr val="000000"/>
              </a:solidFill>
              <a:latin typeface="Calibri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252941" name="AutoShape 20"/>
          <p:cNvSpPr>
            <a:spLocks noChangeArrowheads="1"/>
          </p:cNvSpPr>
          <p:nvPr/>
        </p:nvSpPr>
        <p:spPr bwMode="auto">
          <a:xfrm flipV="1">
            <a:off x="6393952" y="3717032"/>
            <a:ext cx="3446463" cy="533400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12700" algn="ctr">
            <a:solidFill>
              <a:srgbClr val="777777"/>
            </a:solidFill>
            <a:miter lim="800000"/>
            <a:headEnd/>
            <a:tailEnd/>
          </a:ln>
        </p:spPr>
        <p:txBody>
          <a:bodyPr rot="10800000" anchor="b"/>
          <a:lstStyle/>
          <a:p>
            <a:pPr algn="ctr"/>
            <a:r>
              <a:rPr lang="en-US" dirty="0">
                <a:latin typeface="Calibri" pitchFamily="34" charset="0"/>
                <a:ea typeface="ヒラギノ角ゴ Pro W3"/>
                <a:cs typeface="ヒラギノ角ゴ Pro W3"/>
              </a:rPr>
              <a:t>enable…</a:t>
            </a:r>
          </a:p>
        </p:txBody>
      </p:sp>
      <p:sp>
        <p:nvSpPr>
          <p:cNvPr id="252945" name="Titr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he </a:t>
            </a:r>
            <a:r>
              <a:rPr lang="fr-FR" dirty="0" err="1"/>
              <a:t>Swot</a:t>
            </a:r>
            <a:r>
              <a:rPr lang="fr-FR"/>
              <a:t> mission	</a:t>
            </a:r>
            <a:endParaRPr lang="fr-FR" dirty="0"/>
          </a:p>
        </p:txBody>
      </p:sp>
      <p:sp>
        <p:nvSpPr>
          <p:cNvPr id="2" name="Rectangle 1"/>
          <p:cNvSpPr/>
          <p:nvPr/>
        </p:nvSpPr>
        <p:spPr>
          <a:xfrm>
            <a:off x="2999656" y="908720"/>
            <a:ext cx="633670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Overview of Swot potential application fields</a:t>
            </a:r>
          </a:p>
        </p:txBody>
      </p:sp>
    </p:spTree>
    <p:extLst>
      <p:ext uri="{BB962C8B-B14F-4D97-AF65-F5344CB8AC3E}">
        <p14:creationId xmlns:p14="http://schemas.microsoft.com/office/powerpoint/2010/main" val="37358173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IF3BYpPUq9HZPwmBSwI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qh8zoKg0yX.0pfbBu6C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tgFVHuUGElEpWGDsQK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tgFVHuUGElEpWGDsQ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tgFVHuUGElEpWGDsQ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_L7DcaPEGmK5zXU.Dl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qh8zoKg0yX.0pfbBu6C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tgFVHuUGElEpWGDsQK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tgFVHuUGElEpWGDsQK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tgFVHuUGElEpWGDsQK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tgFVHuUGElEpWGDsQ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1Z2.cIbUqsJkFaSo1pi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tgFVHuUGElEpWGDsQ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Q.GfNDiEiyVxcOj_DE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IF3BYpPUq9HZPwmBSw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ptzw6.QEegDCTmNNBQ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lqZ3R4M0GT4KxdUWo00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lqZ3R4M0GT4KxdUWo00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lqZ3R4M0GT4KxdUWo00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lqZ3R4M0GT4KxdUWo00g"/>
</p:tagLst>
</file>

<file path=ppt/theme/theme1.xml><?xml version="1.0" encoding="utf-8"?>
<a:theme xmlns:a="http://schemas.openxmlformats.org/drawingml/2006/main" name="2_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2</TotalTime>
  <Words>718</Words>
  <Application>Microsoft Office PowerPoint</Application>
  <PresentationFormat>Grand écran</PresentationFormat>
  <Paragraphs>96</Paragraphs>
  <Slides>5</Slides>
  <Notes>5</Notes>
  <HiddenSlides>0</HiddenSlides>
  <MMClips>0</MMClips>
  <ScaleCrop>false</ScaleCrop>
  <HeadingPairs>
    <vt:vector size="6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5</vt:i4>
      </vt:variant>
    </vt:vector>
  </HeadingPairs>
  <TitlesOfParts>
    <vt:vector size="10" baseType="lpstr">
      <vt:lpstr>Arial</vt:lpstr>
      <vt:lpstr>Calibri</vt:lpstr>
      <vt:lpstr>Calibri Light</vt:lpstr>
      <vt:lpstr>ヒラギノ角ゴ Pro W3</vt:lpstr>
      <vt:lpstr>2_Thème Office</vt:lpstr>
      <vt:lpstr>Swot in a nutshell</vt:lpstr>
      <vt:lpstr>The Swot mission </vt:lpstr>
      <vt:lpstr>Swot for hydrology </vt:lpstr>
      <vt:lpstr>The Swot mission </vt:lpstr>
      <vt:lpstr>The Swot mission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Rosmorduc Vinca</dc:creator>
  <cp:lastModifiedBy>Rosmorduc Vinca</cp:lastModifiedBy>
  <cp:revision>15</cp:revision>
  <dcterms:created xsi:type="dcterms:W3CDTF">2019-06-25T07:58:22Z</dcterms:created>
  <dcterms:modified xsi:type="dcterms:W3CDTF">2024-01-26T11:04:14Z</dcterms:modified>
</cp:coreProperties>
</file>